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1" r:id="rId4"/>
    <p:sldId id="259" r:id="rId5"/>
    <p:sldId id="260" r:id="rId6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14D9EF-341C-4918-9AA0-E8FCB5DA24B1}" v="32" dt="2024-06-17T15:36:56.2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132" y="6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mo Orschall" userId="521f63a7-c42b-4288-bb76-dcac965ee8d4" providerId="ADAL" clId="{3F14D9EF-341C-4918-9AA0-E8FCB5DA24B1}"/>
    <pc:docChg chg="undo redo custSel addSld delSld modSld replTag delTag">
      <pc:chgData name="Timo Orschall" userId="521f63a7-c42b-4288-bb76-dcac965ee8d4" providerId="ADAL" clId="{3F14D9EF-341C-4918-9AA0-E8FCB5DA24B1}" dt="2024-07-22T13:35:53.057" v="184"/>
      <pc:docMkLst>
        <pc:docMk/>
      </pc:docMkLst>
      <pc:sldChg chg="modSp new mod">
        <pc:chgData name="Timo Orschall" userId="521f63a7-c42b-4288-bb76-dcac965ee8d4" providerId="ADAL" clId="{3F14D9EF-341C-4918-9AA0-E8FCB5DA24B1}" dt="2024-07-22T13:12:37.343" v="166"/>
        <pc:sldMkLst>
          <pc:docMk/>
          <pc:sldMk cId="2964633946" sldId="256"/>
        </pc:sldMkLst>
        <pc:spChg chg="mod">
          <ac:chgData name="Timo Orschall" userId="521f63a7-c42b-4288-bb76-dcac965ee8d4" providerId="ADAL" clId="{3F14D9EF-341C-4918-9AA0-E8FCB5DA24B1}" dt="2024-07-22T13:12:37.343" v="166"/>
          <ac:spMkLst>
            <pc:docMk/>
            <pc:sldMk cId="2964633946" sldId="256"/>
            <ac:spMk id="2" creationId="{F84DCA6E-0A71-31CD-717B-596E8A00FB32}"/>
          </ac:spMkLst>
        </pc:spChg>
        <pc:spChg chg="mod">
          <ac:chgData name="Timo Orschall" userId="521f63a7-c42b-4288-bb76-dcac965ee8d4" providerId="ADAL" clId="{3F14D9EF-341C-4918-9AA0-E8FCB5DA24B1}" dt="2024-06-17T15:25:40.522" v="14"/>
          <ac:spMkLst>
            <pc:docMk/>
            <pc:sldMk cId="2964633946" sldId="256"/>
            <ac:spMk id="3" creationId="{7ED1A876-FB4C-6181-72B5-C91EE8910B27}"/>
          </ac:spMkLst>
        </pc:spChg>
      </pc:sldChg>
      <pc:sldChg chg="addSp delSp modSp new mod">
        <pc:chgData name="Timo Orschall" userId="521f63a7-c42b-4288-bb76-dcac965ee8d4" providerId="ADAL" clId="{3F14D9EF-341C-4918-9AA0-E8FCB5DA24B1}" dt="2024-07-22T13:35:53.057" v="184"/>
        <pc:sldMkLst>
          <pc:docMk/>
          <pc:sldMk cId="3587640947" sldId="257"/>
        </pc:sldMkLst>
        <pc:spChg chg="mod replST delST">
          <ac:chgData name="Timo Orschall" userId="521f63a7-c42b-4288-bb76-dcac965ee8d4" providerId="ADAL" clId="{3F14D9EF-341C-4918-9AA0-E8FCB5DA24B1}" dt="2024-07-22T13:35:53.057" v="184"/>
          <ac:spMkLst>
            <pc:docMk/>
            <pc:sldMk cId="3587640947" sldId="257"/>
            <ac:spMk id="2" creationId="{C6EB3293-6F62-2270-3406-2C539949DB0E}"/>
          </ac:spMkLst>
        </pc:spChg>
        <pc:spChg chg="del">
          <ac:chgData name="Timo Orschall" userId="521f63a7-c42b-4288-bb76-dcac965ee8d4" providerId="ADAL" clId="{3F14D9EF-341C-4918-9AA0-E8FCB5DA24B1}" dt="2024-06-17T15:26:52.855" v="19" actId="1032"/>
          <ac:spMkLst>
            <pc:docMk/>
            <pc:sldMk cId="3587640947" sldId="257"/>
            <ac:spMk id="3" creationId="{C9C659C8-8018-3FB8-0CA0-5150A8060D4C}"/>
          </ac:spMkLst>
        </pc:spChg>
        <pc:graphicFrameChg chg="add mod modGraphic">
          <ac:chgData name="Timo Orschall" userId="521f63a7-c42b-4288-bb76-dcac965ee8d4" providerId="ADAL" clId="{3F14D9EF-341C-4918-9AA0-E8FCB5DA24B1}" dt="2024-06-17T15:27:13.371" v="24"/>
          <ac:graphicFrameMkLst>
            <pc:docMk/>
            <pc:sldMk cId="3587640947" sldId="257"/>
            <ac:graphicFrameMk id="4" creationId="{B4FC1A1C-1302-738E-9290-15C9047339E1}"/>
          </ac:graphicFrameMkLst>
        </pc:graphicFrameChg>
      </pc:sldChg>
      <pc:sldChg chg="add del">
        <pc:chgData name="Timo Orschall" userId="521f63a7-c42b-4288-bb76-dcac965ee8d4" providerId="ADAL" clId="{3F14D9EF-341C-4918-9AA0-E8FCB5DA24B1}" dt="2024-06-17T15:27:18.961" v="26"/>
        <pc:sldMkLst>
          <pc:docMk/>
          <pc:sldMk cId="885979059" sldId="258"/>
        </pc:sldMkLst>
      </pc:sldChg>
      <pc:sldChg chg="modSp new del mod">
        <pc:chgData name="Timo Orschall" userId="521f63a7-c42b-4288-bb76-dcac965ee8d4" providerId="ADAL" clId="{3F14D9EF-341C-4918-9AA0-E8FCB5DA24B1}" dt="2024-06-17T15:33:39.556" v="135" actId="47"/>
        <pc:sldMkLst>
          <pc:docMk/>
          <pc:sldMk cId="3236311545" sldId="258"/>
        </pc:sldMkLst>
        <pc:spChg chg="mod">
          <ac:chgData name="Timo Orschall" userId="521f63a7-c42b-4288-bb76-dcac965ee8d4" providerId="ADAL" clId="{3F14D9EF-341C-4918-9AA0-E8FCB5DA24B1}" dt="2024-06-17T15:29:57.917" v="54"/>
          <ac:spMkLst>
            <pc:docMk/>
            <pc:sldMk cId="3236311545" sldId="258"/>
            <ac:spMk id="2" creationId="{30CFD7CB-1612-1CD7-644C-FC4848E2CD9E}"/>
          </ac:spMkLst>
        </pc:spChg>
        <pc:spChg chg="mod">
          <ac:chgData name="Timo Orschall" userId="521f63a7-c42b-4288-bb76-dcac965ee8d4" providerId="ADAL" clId="{3F14D9EF-341C-4918-9AA0-E8FCB5DA24B1}" dt="2024-06-17T15:29:48.446" v="50" actId="20577"/>
          <ac:spMkLst>
            <pc:docMk/>
            <pc:sldMk cId="3236311545" sldId="258"/>
            <ac:spMk id="3" creationId="{1E9DAFEB-32E1-C8F4-9774-0DDF2253D5C2}"/>
          </ac:spMkLst>
        </pc:spChg>
      </pc:sldChg>
      <pc:sldChg chg="addSp delSp modSp new mod">
        <pc:chgData name="Timo Orschall" userId="521f63a7-c42b-4288-bb76-dcac965ee8d4" providerId="ADAL" clId="{3F14D9EF-341C-4918-9AA0-E8FCB5DA24B1}" dt="2024-06-17T15:35:50.346" v="152"/>
        <pc:sldMkLst>
          <pc:docMk/>
          <pc:sldMk cId="3919637485" sldId="259"/>
        </pc:sldMkLst>
        <pc:spChg chg="mod">
          <ac:chgData name="Timo Orschall" userId="521f63a7-c42b-4288-bb76-dcac965ee8d4" providerId="ADAL" clId="{3F14D9EF-341C-4918-9AA0-E8FCB5DA24B1}" dt="2024-06-17T15:27:44.457" v="34"/>
          <ac:spMkLst>
            <pc:docMk/>
            <pc:sldMk cId="3919637485" sldId="259"/>
            <ac:spMk id="2" creationId="{DAFC9F16-CB14-762D-C207-7D9E57737CE5}"/>
          </ac:spMkLst>
        </pc:spChg>
        <pc:spChg chg="del">
          <ac:chgData name="Timo Orschall" userId="521f63a7-c42b-4288-bb76-dcac965ee8d4" providerId="ADAL" clId="{3F14D9EF-341C-4918-9AA0-E8FCB5DA24B1}" dt="2024-06-17T15:35:07.485" v="136" actId="1032"/>
          <ac:spMkLst>
            <pc:docMk/>
            <pc:sldMk cId="3919637485" sldId="259"/>
            <ac:spMk id="3" creationId="{376587CE-57F1-1535-0C7F-27DF944BE601}"/>
          </ac:spMkLst>
        </pc:spChg>
        <pc:graphicFrameChg chg="add mod modGraphic">
          <ac:chgData name="Timo Orschall" userId="521f63a7-c42b-4288-bb76-dcac965ee8d4" providerId="ADAL" clId="{3F14D9EF-341C-4918-9AA0-E8FCB5DA24B1}" dt="2024-06-17T15:35:50.346" v="152"/>
          <ac:graphicFrameMkLst>
            <pc:docMk/>
            <pc:sldMk cId="3919637485" sldId="259"/>
            <ac:graphicFrameMk id="4" creationId="{056CAFB8-DB72-9E17-54DA-0FAAA494C864}"/>
          </ac:graphicFrameMkLst>
        </pc:graphicFrameChg>
      </pc:sldChg>
      <pc:sldChg chg="addSp delSp modSp new mod">
        <pc:chgData name="Timo Orschall" userId="521f63a7-c42b-4288-bb76-dcac965ee8d4" providerId="ADAL" clId="{3F14D9EF-341C-4918-9AA0-E8FCB5DA24B1}" dt="2024-06-17T15:36:56.291" v="159"/>
        <pc:sldMkLst>
          <pc:docMk/>
          <pc:sldMk cId="1551670117" sldId="260"/>
        </pc:sldMkLst>
        <pc:spChg chg="mod">
          <ac:chgData name="Timo Orschall" userId="521f63a7-c42b-4288-bb76-dcac965ee8d4" providerId="ADAL" clId="{3F14D9EF-341C-4918-9AA0-E8FCB5DA24B1}" dt="2024-06-17T15:27:53.960" v="38"/>
          <ac:spMkLst>
            <pc:docMk/>
            <pc:sldMk cId="1551670117" sldId="260"/>
            <ac:spMk id="2" creationId="{BFEA2FF9-04A9-3CD3-5CB6-CA07662978B6}"/>
          </ac:spMkLst>
        </pc:spChg>
        <pc:spChg chg="del">
          <ac:chgData name="Timo Orschall" userId="521f63a7-c42b-4288-bb76-dcac965ee8d4" providerId="ADAL" clId="{3F14D9EF-341C-4918-9AA0-E8FCB5DA24B1}" dt="2024-06-17T15:36:24.502" v="153" actId="1032"/>
          <ac:spMkLst>
            <pc:docMk/>
            <pc:sldMk cId="1551670117" sldId="260"/>
            <ac:spMk id="3" creationId="{A3114059-50B2-545E-C8F0-EC09FC6A58BB}"/>
          </ac:spMkLst>
        </pc:spChg>
        <pc:spChg chg="add del">
          <ac:chgData name="Timo Orschall" userId="521f63a7-c42b-4288-bb76-dcac965ee8d4" providerId="ADAL" clId="{3F14D9EF-341C-4918-9AA0-E8FCB5DA24B1}" dt="2024-06-17T15:36:34.579" v="155" actId="22"/>
          <ac:spMkLst>
            <pc:docMk/>
            <pc:sldMk cId="1551670117" sldId="260"/>
            <ac:spMk id="6" creationId="{0FB7F3CE-D067-C86A-D916-72990CE0B22F}"/>
          </ac:spMkLst>
        </pc:spChg>
        <pc:graphicFrameChg chg="add mod modGraphic">
          <ac:chgData name="Timo Orschall" userId="521f63a7-c42b-4288-bb76-dcac965ee8d4" providerId="ADAL" clId="{3F14D9EF-341C-4918-9AA0-E8FCB5DA24B1}" dt="2024-06-17T15:36:56.291" v="159"/>
          <ac:graphicFrameMkLst>
            <pc:docMk/>
            <pc:sldMk cId="1551670117" sldId="260"/>
            <ac:graphicFrameMk id="4" creationId="{94B08009-1F48-4D7F-5170-9C5BC0A7F6C6}"/>
          </ac:graphicFrameMkLst>
        </pc:graphicFrameChg>
      </pc:sldChg>
      <pc:sldChg chg="addSp delSp modSp new add del mod">
        <pc:chgData name="Timo Orschall" userId="521f63a7-c42b-4288-bb76-dcac965ee8d4" providerId="ADAL" clId="{3F14D9EF-341C-4918-9AA0-E8FCB5DA24B1}" dt="2024-07-22T13:12:30.528" v="162"/>
        <pc:sldMkLst>
          <pc:docMk/>
          <pc:sldMk cId="385023338" sldId="261"/>
        </pc:sldMkLst>
        <pc:spChg chg="mod">
          <ac:chgData name="Timo Orschall" userId="521f63a7-c42b-4288-bb76-dcac965ee8d4" providerId="ADAL" clId="{3F14D9EF-341C-4918-9AA0-E8FCB5DA24B1}" dt="2024-06-17T15:29:59.576" v="55"/>
          <ac:spMkLst>
            <pc:docMk/>
            <pc:sldMk cId="385023338" sldId="261"/>
            <ac:spMk id="2" creationId="{432F69A0-CAAB-3339-B934-8B28B2C9859C}"/>
          </ac:spMkLst>
        </pc:spChg>
        <pc:spChg chg="mod">
          <ac:chgData name="Timo Orschall" userId="521f63a7-c42b-4288-bb76-dcac965ee8d4" providerId="ADAL" clId="{3F14D9EF-341C-4918-9AA0-E8FCB5DA24B1}" dt="2024-07-22T13:12:30.528" v="162"/>
          <ac:spMkLst>
            <pc:docMk/>
            <pc:sldMk cId="385023338" sldId="261"/>
            <ac:spMk id="3" creationId="{C90D8B34-5B11-0442-D35B-D0BFF9D32D88}"/>
          </ac:spMkLst>
        </pc:spChg>
        <pc:spChg chg="del mod">
          <ac:chgData name="Timo Orschall" userId="521f63a7-c42b-4288-bb76-dcac965ee8d4" providerId="ADAL" clId="{3F14D9EF-341C-4918-9AA0-E8FCB5DA24B1}" dt="2024-06-17T15:31:04.632" v="89" actId="1957"/>
          <ac:spMkLst>
            <pc:docMk/>
            <pc:sldMk cId="385023338" sldId="261"/>
            <ac:spMk id="4" creationId="{3839483F-F6A9-9E24-45E9-8FBBF0399C06}"/>
          </ac:spMkLst>
        </pc:spChg>
        <pc:graphicFrameChg chg="add mod">
          <ac:chgData name="Timo Orschall" userId="521f63a7-c42b-4288-bb76-dcac965ee8d4" providerId="ADAL" clId="{3F14D9EF-341C-4918-9AA0-E8FCB5DA24B1}" dt="2024-06-17T15:31:04.632" v="89" actId="1957"/>
          <ac:graphicFrameMkLst>
            <pc:docMk/>
            <pc:sldMk cId="385023338" sldId="261"/>
            <ac:graphicFrameMk id="7" creationId="{EB07217C-840B-5BAB-CB63-5DB54E0D1863}"/>
          </ac:graphicFrameMkLst>
        </pc:graphicFrameChg>
      </pc:sldChg>
      <pc:sldChg chg="add del">
        <pc:chgData name="Timo Orschall" userId="521f63a7-c42b-4288-bb76-dcac965ee8d4" providerId="ADAL" clId="{3F14D9EF-341C-4918-9AA0-E8FCB5DA24B1}" dt="2024-06-17T15:33:07.034" v="122"/>
        <pc:sldMkLst>
          <pc:docMk/>
          <pc:sldMk cId="2794598754" sldId="26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Progres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Tabelle1!$A$2:$A$5</c:f>
              <c:strCache>
                <c:ptCount val="4"/>
                <c:pt idx="0">
                  <c:v>Regular Check In #1</c:v>
                </c:pt>
                <c:pt idx="1">
                  <c:v>Regular Check In #2</c:v>
                </c:pt>
                <c:pt idx="2">
                  <c:v>Regular Check In #3</c:v>
                </c:pt>
                <c:pt idx="3">
                  <c:v>Regular Check In #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0</c:v>
                </c:pt>
                <c:pt idx="1">
                  <c:v>35</c:v>
                </c:pt>
                <c:pt idx="2">
                  <c:v>55</c:v>
                </c:pt>
                <c:pt idx="3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70-4AC0-BAD6-CA65425030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032399"/>
        <c:axId val="32026279"/>
      </c:lineChart>
      <c:catAx>
        <c:axId val="32032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026279"/>
        <c:crosses val="autoZero"/>
        <c:auto val="1"/>
        <c:lblAlgn val="ctr"/>
        <c:lblOffset val="100"/>
        <c:noMultiLvlLbl val="0"/>
      </c:catAx>
      <c:valAx>
        <c:axId val="320262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2032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0A8789-9CFB-48F0-9791-7C6694EE5E4D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8DC4648-DD4A-496A-B4F8-A67F7FC9F52C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 dirty="0"/>
            <a:t>Goal Setting</a:t>
          </a:r>
          <a:endParaRPr lang="en-US" dirty="0"/>
        </a:p>
      </dgm:t>
    </dgm:pt>
    <dgm:pt modelId="{6C406384-5FF9-43D8-9055-8A1F5EEB8B4B}" type="parTrans" cxnId="{BF257C5D-2825-4C87-A1C1-D3483689648E}">
      <dgm:prSet/>
      <dgm:spPr/>
      <dgm:t>
        <a:bodyPr/>
        <a:lstStyle/>
        <a:p>
          <a:endParaRPr lang="en-US"/>
        </a:p>
      </dgm:t>
    </dgm:pt>
    <dgm:pt modelId="{ECD8E19C-0D34-485A-A0D1-A4BC9FA6166B}" type="sibTrans" cxnId="{BF257C5D-2825-4C87-A1C1-D3483689648E}">
      <dgm:prSet/>
      <dgm:spPr/>
      <dgm:t>
        <a:bodyPr/>
        <a:lstStyle/>
        <a:p>
          <a:endParaRPr lang="en-US"/>
        </a:p>
      </dgm:t>
    </dgm:pt>
    <dgm:pt modelId="{C2304FF7-7824-45A8-A83F-3EE3BB7DF548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 dirty="0"/>
            <a:t>Performance Tracking and Feedback</a:t>
          </a:r>
          <a:endParaRPr lang="en-US" dirty="0"/>
        </a:p>
      </dgm:t>
    </dgm:pt>
    <dgm:pt modelId="{483EFDC7-1A8C-4C15-8447-8AB224040CFD}" type="parTrans" cxnId="{D971973A-F818-4F61-A709-1C76496686B1}">
      <dgm:prSet/>
      <dgm:spPr/>
      <dgm:t>
        <a:bodyPr/>
        <a:lstStyle/>
        <a:p>
          <a:endParaRPr lang="en-US"/>
        </a:p>
      </dgm:t>
    </dgm:pt>
    <dgm:pt modelId="{B814AB35-915F-45A7-A56D-8006DDBC8E37}" type="sibTrans" cxnId="{D971973A-F818-4F61-A709-1C76496686B1}">
      <dgm:prSet/>
      <dgm:spPr/>
      <dgm:t>
        <a:bodyPr/>
        <a:lstStyle/>
        <a:p>
          <a:endParaRPr lang="en-US"/>
        </a:p>
      </dgm:t>
    </dgm:pt>
    <dgm:pt modelId="{0E773488-A83A-4790-984C-407054552C79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 dirty="0"/>
            <a:t>Performance Evaluation</a:t>
          </a:r>
          <a:endParaRPr lang="en-US" dirty="0"/>
        </a:p>
      </dgm:t>
    </dgm:pt>
    <dgm:pt modelId="{775DBAE5-1046-40F7-93ED-BAF1A74047F0}" type="parTrans" cxnId="{4097D7BF-74A1-46E6-9E25-48CFFF99025D}">
      <dgm:prSet/>
      <dgm:spPr/>
      <dgm:t>
        <a:bodyPr/>
        <a:lstStyle/>
        <a:p>
          <a:endParaRPr lang="en-US"/>
        </a:p>
      </dgm:t>
    </dgm:pt>
    <dgm:pt modelId="{77A0F9E7-215D-41BA-92E8-23D0C2FB68BD}" type="sibTrans" cxnId="{4097D7BF-74A1-46E6-9E25-48CFFF99025D}">
      <dgm:prSet/>
      <dgm:spPr/>
      <dgm:t>
        <a:bodyPr/>
        <a:lstStyle/>
        <a:p>
          <a:endParaRPr lang="en-US"/>
        </a:p>
      </dgm:t>
    </dgm:pt>
    <dgm:pt modelId="{B71FF3B1-5186-4EF9-824B-EF0A139642D6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 dirty="0"/>
            <a:t>Development </a:t>
          </a:r>
          <a:r>
            <a:rPr lang="de-DE" b="0" i="0" dirty="0" err="1"/>
            <a:t>Planning</a:t>
          </a:r>
          <a:endParaRPr lang="en-US" dirty="0"/>
        </a:p>
      </dgm:t>
    </dgm:pt>
    <dgm:pt modelId="{64284DF6-166D-418D-BE3A-8395BAB68A7F}" type="parTrans" cxnId="{61ECBD52-EA99-4F7B-9278-7E828C70A0FC}">
      <dgm:prSet/>
      <dgm:spPr/>
      <dgm:t>
        <a:bodyPr/>
        <a:lstStyle/>
        <a:p>
          <a:endParaRPr lang="en-US"/>
        </a:p>
      </dgm:t>
    </dgm:pt>
    <dgm:pt modelId="{E83B9D11-3794-4096-99AB-40EF4F8D7A2C}" type="sibTrans" cxnId="{61ECBD52-EA99-4F7B-9278-7E828C70A0FC}">
      <dgm:prSet/>
      <dgm:spPr/>
      <dgm:t>
        <a:bodyPr/>
        <a:lstStyle/>
        <a:p>
          <a:endParaRPr lang="en-US"/>
        </a:p>
      </dgm:t>
    </dgm:pt>
    <dgm:pt modelId="{0445906C-B239-4FC5-8E5D-432DFA05F6DA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 dirty="0" err="1"/>
            <a:t>Compensation</a:t>
          </a:r>
          <a:r>
            <a:rPr lang="de-DE" b="0" i="0" dirty="0"/>
            <a:t> and Career Progression</a:t>
          </a:r>
          <a:endParaRPr lang="en-US" dirty="0"/>
        </a:p>
      </dgm:t>
    </dgm:pt>
    <dgm:pt modelId="{1B195479-EC96-41E3-8DAD-EBA876B19AA7}" type="parTrans" cxnId="{CC209B94-1C23-4E8C-B65A-FF3942FDB4BF}">
      <dgm:prSet/>
      <dgm:spPr/>
      <dgm:t>
        <a:bodyPr/>
        <a:lstStyle/>
        <a:p>
          <a:endParaRPr lang="en-US"/>
        </a:p>
      </dgm:t>
    </dgm:pt>
    <dgm:pt modelId="{28422285-B047-4253-A04B-FF75E75621E4}" type="sibTrans" cxnId="{CC209B94-1C23-4E8C-B65A-FF3942FDB4BF}">
      <dgm:prSet/>
      <dgm:spPr/>
      <dgm:t>
        <a:bodyPr/>
        <a:lstStyle/>
        <a:p>
          <a:endParaRPr lang="en-US"/>
        </a:p>
      </dgm:t>
    </dgm:pt>
    <dgm:pt modelId="{72B1BDE9-4A90-4150-9DE4-A7B1C721977C}" type="pres">
      <dgm:prSet presAssocID="{420A8789-9CFB-48F0-9791-7C6694EE5E4D}" presName="cycle" presStyleCnt="0">
        <dgm:presLayoutVars>
          <dgm:dir/>
          <dgm:resizeHandles val="exact"/>
        </dgm:presLayoutVars>
      </dgm:prSet>
      <dgm:spPr/>
    </dgm:pt>
    <dgm:pt modelId="{3AA57B97-562E-4BD1-91AF-D61AC5904970}" type="pres">
      <dgm:prSet presAssocID="{F8DC4648-DD4A-496A-B4F8-A67F7FC9F52C}" presName="node" presStyleLbl="node1" presStyleIdx="0" presStyleCnt="5">
        <dgm:presLayoutVars>
          <dgm:bulletEnabled val="1"/>
        </dgm:presLayoutVars>
      </dgm:prSet>
      <dgm:spPr/>
    </dgm:pt>
    <dgm:pt modelId="{8A5E5B75-2B47-496F-B5EC-809A90E9195B}" type="pres">
      <dgm:prSet presAssocID="{ECD8E19C-0D34-485A-A0D1-A4BC9FA6166B}" presName="sibTrans" presStyleLbl="sibTrans2D1" presStyleIdx="0" presStyleCnt="5"/>
      <dgm:spPr/>
    </dgm:pt>
    <dgm:pt modelId="{34F7154E-B56B-4097-9D35-E75375FF04B8}" type="pres">
      <dgm:prSet presAssocID="{ECD8E19C-0D34-485A-A0D1-A4BC9FA6166B}" presName="connectorText" presStyleLbl="sibTrans2D1" presStyleIdx="0" presStyleCnt="5"/>
      <dgm:spPr/>
    </dgm:pt>
    <dgm:pt modelId="{B189EE19-1FDE-4D1B-B810-7AF11A4F15C3}" type="pres">
      <dgm:prSet presAssocID="{C2304FF7-7824-45A8-A83F-3EE3BB7DF548}" presName="node" presStyleLbl="node1" presStyleIdx="1" presStyleCnt="5">
        <dgm:presLayoutVars>
          <dgm:bulletEnabled val="1"/>
        </dgm:presLayoutVars>
      </dgm:prSet>
      <dgm:spPr/>
    </dgm:pt>
    <dgm:pt modelId="{9E6B6685-EAE4-4E95-8E5E-9E0413AE29D3}" type="pres">
      <dgm:prSet presAssocID="{B814AB35-915F-45A7-A56D-8006DDBC8E37}" presName="sibTrans" presStyleLbl="sibTrans2D1" presStyleIdx="1" presStyleCnt="5"/>
      <dgm:spPr/>
    </dgm:pt>
    <dgm:pt modelId="{B3E509A1-CFB7-479A-814F-A6122022335A}" type="pres">
      <dgm:prSet presAssocID="{B814AB35-915F-45A7-A56D-8006DDBC8E37}" presName="connectorText" presStyleLbl="sibTrans2D1" presStyleIdx="1" presStyleCnt="5"/>
      <dgm:spPr/>
    </dgm:pt>
    <dgm:pt modelId="{53835FD9-B645-4A41-8B05-60BAE88DEF9B}" type="pres">
      <dgm:prSet presAssocID="{0E773488-A83A-4790-984C-407054552C79}" presName="node" presStyleLbl="node1" presStyleIdx="2" presStyleCnt="5">
        <dgm:presLayoutVars>
          <dgm:bulletEnabled val="1"/>
        </dgm:presLayoutVars>
      </dgm:prSet>
      <dgm:spPr/>
    </dgm:pt>
    <dgm:pt modelId="{94D964E7-6179-46AD-837A-9B0133A62428}" type="pres">
      <dgm:prSet presAssocID="{77A0F9E7-215D-41BA-92E8-23D0C2FB68BD}" presName="sibTrans" presStyleLbl="sibTrans2D1" presStyleIdx="2" presStyleCnt="5"/>
      <dgm:spPr/>
    </dgm:pt>
    <dgm:pt modelId="{5D5EF88E-1F42-46C6-9F67-484394DC4742}" type="pres">
      <dgm:prSet presAssocID="{77A0F9E7-215D-41BA-92E8-23D0C2FB68BD}" presName="connectorText" presStyleLbl="sibTrans2D1" presStyleIdx="2" presStyleCnt="5"/>
      <dgm:spPr/>
    </dgm:pt>
    <dgm:pt modelId="{C950177D-CF68-41C6-8131-9218E553F485}" type="pres">
      <dgm:prSet presAssocID="{B71FF3B1-5186-4EF9-824B-EF0A139642D6}" presName="node" presStyleLbl="node1" presStyleIdx="3" presStyleCnt="5">
        <dgm:presLayoutVars>
          <dgm:bulletEnabled val="1"/>
        </dgm:presLayoutVars>
      </dgm:prSet>
      <dgm:spPr/>
    </dgm:pt>
    <dgm:pt modelId="{97A3E6DE-4C76-42BC-8349-533025DC35A8}" type="pres">
      <dgm:prSet presAssocID="{E83B9D11-3794-4096-99AB-40EF4F8D7A2C}" presName="sibTrans" presStyleLbl="sibTrans2D1" presStyleIdx="3" presStyleCnt="5"/>
      <dgm:spPr/>
    </dgm:pt>
    <dgm:pt modelId="{431B32AB-9F9C-4806-A6AE-FDB0F9560030}" type="pres">
      <dgm:prSet presAssocID="{E83B9D11-3794-4096-99AB-40EF4F8D7A2C}" presName="connectorText" presStyleLbl="sibTrans2D1" presStyleIdx="3" presStyleCnt="5"/>
      <dgm:spPr/>
    </dgm:pt>
    <dgm:pt modelId="{59D1086D-886B-470E-90C3-F4B7FACD1AB3}" type="pres">
      <dgm:prSet presAssocID="{0445906C-B239-4FC5-8E5D-432DFA05F6DA}" presName="node" presStyleLbl="node1" presStyleIdx="4" presStyleCnt="5">
        <dgm:presLayoutVars>
          <dgm:bulletEnabled val="1"/>
        </dgm:presLayoutVars>
      </dgm:prSet>
      <dgm:spPr/>
    </dgm:pt>
    <dgm:pt modelId="{D8E2E725-665B-4E41-9058-B700C79A6C88}" type="pres">
      <dgm:prSet presAssocID="{28422285-B047-4253-A04B-FF75E75621E4}" presName="sibTrans" presStyleLbl="sibTrans2D1" presStyleIdx="4" presStyleCnt="5"/>
      <dgm:spPr/>
    </dgm:pt>
    <dgm:pt modelId="{24103A3F-32BF-49E9-ABC2-751F2D7F3199}" type="pres">
      <dgm:prSet presAssocID="{28422285-B047-4253-A04B-FF75E75621E4}" presName="connectorText" presStyleLbl="sibTrans2D1" presStyleIdx="4" presStyleCnt="5"/>
      <dgm:spPr/>
    </dgm:pt>
  </dgm:ptLst>
  <dgm:cxnLst>
    <dgm:cxn modelId="{C6F0380F-F617-417D-96CF-D197C28B0FB8}" type="presOf" srcId="{77A0F9E7-215D-41BA-92E8-23D0C2FB68BD}" destId="{5D5EF88E-1F42-46C6-9F67-484394DC4742}" srcOrd="1" destOrd="0" presId="urn:microsoft.com/office/officeart/2005/8/layout/cycle2"/>
    <dgm:cxn modelId="{3E23961A-DBB4-42D2-AA8B-7D5B16C7DB44}" type="presOf" srcId="{77A0F9E7-215D-41BA-92E8-23D0C2FB68BD}" destId="{94D964E7-6179-46AD-837A-9B0133A62428}" srcOrd="0" destOrd="0" presId="urn:microsoft.com/office/officeart/2005/8/layout/cycle2"/>
    <dgm:cxn modelId="{686B281C-CD1E-4C3D-903D-D1ACE4AC923F}" type="presOf" srcId="{28422285-B047-4253-A04B-FF75E75621E4}" destId="{24103A3F-32BF-49E9-ABC2-751F2D7F3199}" srcOrd="1" destOrd="0" presId="urn:microsoft.com/office/officeart/2005/8/layout/cycle2"/>
    <dgm:cxn modelId="{89EE4623-8BB7-46C8-84AB-00CCB61EF08D}" type="presOf" srcId="{0445906C-B239-4FC5-8E5D-432DFA05F6DA}" destId="{59D1086D-886B-470E-90C3-F4B7FACD1AB3}" srcOrd="0" destOrd="0" presId="urn:microsoft.com/office/officeart/2005/8/layout/cycle2"/>
    <dgm:cxn modelId="{F0A73235-BE6A-4182-B1DA-75E517ADAB60}" type="presOf" srcId="{E83B9D11-3794-4096-99AB-40EF4F8D7A2C}" destId="{431B32AB-9F9C-4806-A6AE-FDB0F9560030}" srcOrd="1" destOrd="0" presId="urn:microsoft.com/office/officeart/2005/8/layout/cycle2"/>
    <dgm:cxn modelId="{D971973A-F818-4F61-A709-1C76496686B1}" srcId="{420A8789-9CFB-48F0-9791-7C6694EE5E4D}" destId="{C2304FF7-7824-45A8-A83F-3EE3BB7DF548}" srcOrd="1" destOrd="0" parTransId="{483EFDC7-1A8C-4C15-8447-8AB224040CFD}" sibTransId="{B814AB35-915F-45A7-A56D-8006DDBC8E37}"/>
    <dgm:cxn modelId="{BF257C5D-2825-4C87-A1C1-D3483689648E}" srcId="{420A8789-9CFB-48F0-9791-7C6694EE5E4D}" destId="{F8DC4648-DD4A-496A-B4F8-A67F7FC9F52C}" srcOrd="0" destOrd="0" parTransId="{6C406384-5FF9-43D8-9055-8A1F5EEB8B4B}" sibTransId="{ECD8E19C-0D34-485A-A0D1-A4BC9FA6166B}"/>
    <dgm:cxn modelId="{CC4E6944-154D-4153-A655-0071A3DAAFFD}" type="presOf" srcId="{28422285-B047-4253-A04B-FF75E75621E4}" destId="{D8E2E725-665B-4E41-9058-B700C79A6C88}" srcOrd="0" destOrd="0" presId="urn:microsoft.com/office/officeart/2005/8/layout/cycle2"/>
    <dgm:cxn modelId="{7BE1BF67-4EBB-4D7D-919F-3D3111E61067}" type="presOf" srcId="{F8DC4648-DD4A-496A-B4F8-A67F7FC9F52C}" destId="{3AA57B97-562E-4BD1-91AF-D61AC5904970}" srcOrd="0" destOrd="0" presId="urn:microsoft.com/office/officeart/2005/8/layout/cycle2"/>
    <dgm:cxn modelId="{1243D56B-A1F2-4DFB-B2CE-AE8E97D284AE}" type="presOf" srcId="{B814AB35-915F-45A7-A56D-8006DDBC8E37}" destId="{9E6B6685-EAE4-4E95-8E5E-9E0413AE29D3}" srcOrd="0" destOrd="0" presId="urn:microsoft.com/office/officeart/2005/8/layout/cycle2"/>
    <dgm:cxn modelId="{61ECBD52-EA99-4F7B-9278-7E828C70A0FC}" srcId="{420A8789-9CFB-48F0-9791-7C6694EE5E4D}" destId="{B71FF3B1-5186-4EF9-824B-EF0A139642D6}" srcOrd="3" destOrd="0" parTransId="{64284DF6-166D-418D-BE3A-8395BAB68A7F}" sibTransId="{E83B9D11-3794-4096-99AB-40EF4F8D7A2C}"/>
    <dgm:cxn modelId="{3BF9F07D-80A4-43CC-A8FA-D37908A78BBE}" type="presOf" srcId="{C2304FF7-7824-45A8-A83F-3EE3BB7DF548}" destId="{B189EE19-1FDE-4D1B-B810-7AF11A4F15C3}" srcOrd="0" destOrd="0" presId="urn:microsoft.com/office/officeart/2005/8/layout/cycle2"/>
    <dgm:cxn modelId="{3D2E2D80-63EF-4A43-B0C2-71852332BA84}" type="presOf" srcId="{B71FF3B1-5186-4EF9-824B-EF0A139642D6}" destId="{C950177D-CF68-41C6-8131-9218E553F485}" srcOrd="0" destOrd="0" presId="urn:microsoft.com/office/officeart/2005/8/layout/cycle2"/>
    <dgm:cxn modelId="{2A036887-7BBA-4A16-ACFB-21219238E17C}" type="presOf" srcId="{420A8789-9CFB-48F0-9791-7C6694EE5E4D}" destId="{72B1BDE9-4A90-4150-9DE4-A7B1C721977C}" srcOrd="0" destOrd="0" presId="urn:microsoft.com/office/officeart/2005/8/layout/cycle2"/>
    <dgm:cxn modelId="{CC209B94-1C23-4E8C-B65A-FF3942FDB4BF}" srcId="{420A8789-9CFB-48F0-9791-7C6694EE5E4D}" destId="{0445906C-B239-4FC5-8E5D-432DFA05F6DA}" srcOrd="4" destOrd="0" parTransId="{1B195479-EC96-41E3-8DAD-EBA876B19AA7}" sibTransId="{28422285-B047-4253-A04B-FF75E75621E4}"/>
    <dgm:cxn modelId="{12AA39AB-1ED1-43C5-92E9-ECD3A92F3F03}" type="presOf" srcId="{0E773488-A83A-4790-984C-407054552C79}" destId="{53835FD9-B645-4A41-8B05-60BAE88DEF9B}" srcOrd="0" destOrd="0" presId="urn:microsoft.com/office/officeart/2005/8/layout/cycle2"/>
    <dgm:cxn modelId="{2CC260BA-FF83-412F-B50C-3FD108939350}" type="presOf" srcId="{B814AB35-915F-45A7-A56D-8006DDBC8E37}" destId="{B3E509A1-CFB7-479A-814F-A6122022335A}" srcOrd="1" destOrd="0" presId="urn:microsoft.com/office/officeart/2005/8/layout/cycle2"/>
    <dgm:cxn modelId="{3CCFBEBB-1349-453F-BA31-E2796249D339}" type="presOf" srcId="{ECD8E19C-0D34-485A-A0D1-A4BC9FA6166B}" destId="{34F7154E-B56B-4097-9D35-E75375FF04B8}" srcOrd="1" destOrd="0" presId="urn:microsoft.com/office/officeart/2005/8/layout/cycle2"/>
    <dgm:cxn modelId="{4097D7BF-74A1-46E6-9E25-48CFFF99025D}" srcId="{420A8789-9CFB-48F0-9791-7C6694EE5E4D}" destId="{0E773488-A83A-4790-984C-407054552C79}" srcOrd="2" destOrd="0" parTransId="{775DBAE5-1046-40F7-93ED-BAF1A74047F0}" sibTransId="{77A0F9E7-215D-41BA-92E8-23D0C2FB68BD}"/>
    <dgm:cxn modelId="{2C0153E0-3B1C-4681-BF35-5FB9E98AEFD5}" type="presOf" srcId="{E83B9D11-3794-4096-99AB-40EF4F8D7A2C}" destId="{97A3E6DE-4C76-42BC-8349-533025DC35A8}" srcOrd="0" destOrd="0" presId="urn:microsoft.com/office/officeart/2005/8/layout/cycle2"/>
    <dgm:cxn modelId="{D2A877EC-E466-41A5-8F3B-0E97A0E0904B}" type="presOf" srcId="{ECD8E19C-0D34-485A-A0D1-A4BC9FA6166B}" destId="{8A5E5B75-2B47-496F-B5EC-809A90E9195B}" srcOrd="0" destOrd="0" presId="urn:microsoft.com/office/officeart/2005/8/layout/cycle2"/>
    <dgm:cxn modelId="{8A8A3664-FFEC-44FC-A1AA-7B8F9D0D25AA}" type="presParOf" srcId="{72B1BDE9-4A90-4150-9DE4-A7B1C721977C}" destId="{3AA57B97-562E-4BD1-91AF-D61AC5904970}" srcOrd="0" destOrd="0" presId="urn:microsoft.com/office/officeart/2005/8/layout/cycle2"/>
    <dgm:cxn modelId="{BE442E3F-65C4-4827-90C8-36E3B0C54632}" type="presParOf" srcId="{72B1BDE9-4A90-4150-9DE4-A7B1C721977C}" destId="{8A5E5B75-2B47-496F-B5EC-809A90E9195B}" srcOrd="1" destOrd="0" presId="urn:microsoft.com/office/officeart/2005/8/layout/cycle2"/>
    <dgm:cxn modelId="{49643AD7-83F7-41AC-B1E9-7D5DF844444A}" type="presParOf" srcId="{8A5E5B75-2B47-496F-B5EC-809A90E9195B}" destId="{34F7154E-B56B-4097-9D35-E75375FF04B8}" srcOrd="0" destOrd="0" presId="urn:microsoft.com/office/officeart/2005/8/layout/cycle2"/>
    <dgm:cxn modelId="{7CC7294A-E3C2-4095-9951-9482FE82067C}" type="presParOf" srcId="{72B1BDE9-4A90-4150-9DE4-A7B1C721977C}" destId="{B189EE19-1FDE-4D1B-B810-7AF11A4F15C3}" srcOrd="2" destOrd="0" presId="urn:microsoft.com/office/officeart/2005/8/layout/cycle2"/>
    <dgm:cxn modelId="{E4F87A26-9403-4DA0-A5A5-EC7F9C3A7787}" type="presParOf" srcId="{72B1BDE9-4A90-4150-9DE4-A7B1C721977C}" destId="{9E6B6685-EAE4-4E95-8E5E-9E0413AE29D3}" srcOrd="3" destOrd="0" presId="urn:microsoft.com/office/officeart/2005/8/layout/cycle2"/>
    <dgm:cxn modelId="{036B4360-97B8-4055-8B9E-BA8C65742487}" type="presParOf" srcId="{9E6B6685-EAE4-4E95-8E5E-9E0413AE29D3}" destId="{B3E509A1-CFB7-479A-814F-A6122022335A}" srcOrd="0" destOrd="0" presId="urn:microsoft.com/office/officeart/2005/8/layout/cycle2"/>
    <dgm:cxn modelId="{7AEE76C7-1759-4BAC-8CED-39B68274486E}" type="presParOf" srcId="{72B1BDE9-4A90-4150-9DE4-A7B1C721977C}" destId="{53835FD9-B645-4A41-8B05-60BAE88DEF9B}" srcOrd="4" destOrd="0" presId="urn:microsoft.com/office/officeart/2005/8/layout/cycle2"/>
    <dgm:cxn modelId="{7DC7D981-FC05-4EA1-B96D-AFFB8AC6F5D4}" type="presParOf" srcId="{72B1BDE9-4A90-4150-9DE4-A7B1C721977C}" destId="{94D964E7-6179-46AD-837A-9B0133A62428}" srcOrd="5" destOrd="0" presId="urn:microsoft.com/office/officeart/2005/8/layout/cycle2"/>
    <dgm:cxn modelId="{A8CF4E0E-428F-49B2-B617-BADC11265971}" type="presParOf" srcId="{94D964E7-6179-46AD-837A-9B0133A62428}" destId="{5D5EF88E-1F42-46C6-9F67-484394DC4742}" srcOrd="0" destOrd="0" presId="urn:microsoft.com/office/officeart/2005/8/layout/cycle2"/>
    <dgm:cxn modelId="{E262FB96-4B57-4045-9E36-DD41433B309A}" type="presParOf" srcId="{72B1BDE9-4A90-4150-9DE4-A7B1C721977C}" destId="{C950177D-CF68-41C6-8131-9218E553F485}" srcOrd="6" destOrd="0" presId="urn:microsoft.com/office/officeart/2005/8/layout/cycle2"/>
    <dgm:cxn modelId="{EAF943EA-4008-414F-A7D7-A2C2EA93F367}" type="presParOf" srcId="{72B1BDE9-4A90-4150-9DE4-A7B1C721977C}" destId="{97A3E6DE-4C76-42BC-8349-533025DC35A8}" srcOrd="7" destOrd="0" presId="urn:microsoft.com/office/officeart/2005/8/layout/cycle2"/>
    <dgm:cxn modelId="{1D6897C1-166A-4CBE-A3B0-5A1E1B11EE4A}" type="presParOf" srcId="{97A3E6DE-4C76-42BC-8349-533025DC35A8}" destId="{431B32AB-9F9C-4806-A6AE-FDB0F9560030}" srcOrd="0" destOrd="0" presId="urn:microsoft.com/office/officeart/2005/8/layout/cycle2"/>
    <dgm:cxn modelId="{EE775A72-830E-427B-8291-E0057B1EE754}" type="presParOf" srcId="{72B1BDE9-4A90-4150-9DE4-A7B1C721977C}" destId="{59D1086D-886B-470E-90C3-F4B7FACD1AB3}" srcOrd="8" destOrd="0" presId="urn:microsoft.com/office/officeart/2005/8/layout/cycle2"/>
    <dgm:cxn modelId="{6487BADC-ABD1-4B38-992F-702F9440082E}" type="presParOf" srcId="{72B1BDE9-4A90-4150-9DE4-A7B1C721977C}" destId="{D8E2E725-665B-4E41-9058-B700C79A6C88}" srcOrd="9" destOrd="0" presId="urn:microsoft.com/office/officeart/2005/8/layout/cycle2"/>
    <dgm:cxn modelId="{3132F81D-476E-4EC5-B331-39A051BBE15C}" type="presParOf" srcId="{D8E2E725-665B-4E41-9058-B700C79A6C88}" destId="{24103A3F-32BF-49E9-ABC2-751F2D7F3199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3FCE61-3E3E-4521-B102-C5A3BFE26C7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99CA443-3427-41FC-B44D-E4A0E4519043}">
      <dgm:prSet phldrT="[Text]"/>
      <dgm:spPr/>
      <dgm:t>
        <a:bodyPr/>
        <a:lstStyle/>
        <a:p>
          <a:r>
            <a:rPr lang="de-DE" b="0" i="0" dirty="0"/>
            <a:t>Performance Evaluation </a:t>
          </a:r>
          <a:r>
            <a:rPr lang="de-DE" b="0" i="0" dirty="0" err="1"/>
            <a:t>Process</a:t>
          </a:r>
          <a:endParaRPr lang="en-US" dirty="0"/>
        </a:p>
      </dgm:t>
    </dgm:pt>
    <dgm:pt modelId="{69A0E3E3-8269-4E58-B2D2-4AC8843965AD}" type="parTrans" cxnId="{1336D27D-2279-45E6-AF4A-D444342F5F06}">
      <dgm:prSet/>
      <dgm:spPr/>
      <dgm:t>
        <a:bodyPr/>
        <a:lstStyle/>
        <a:p>
          <a:endParaRPr lang="en-US"/>
        </a:p>
      </dgm:t>
    </dgm:pt>
    <dgm:pt modelId="{74D8CA73-C2DD-4CC9-A56A-1F0EF888C119}" type="sibTrans" cxnId="{1336D27D-2279-45E6-AF4A-D444342F5F06}">
      <dgm:prSet/>
      <dgm:spPr/>
      <dgm:t>
        <a:bodyPr/>
        <a:lstStyle/>
        <a:p>
          <a:endParaRPr lang="en-US"/>
        </a:p>
      </dgm:t>
    </dgm:pt>
    <dgm:pt modelId="{CFD63DE3-A844-49EC-A3E4-3DE1B74C38AC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 dirty="0"/>
            <a:t>Self-</a:t>
          </a:r>
          <a:r>
            <a:rPr lang="de-DE" b="0" i="0" dirty="0" err="1"/>
            <a:t>assessment</a:t>
          </a:r>
          <a:endParaRPr lang="en-US" dirty="0"/>
        </a:p>
      </dgm:t>
    </dgm:pt>
    <dgm:pt modelId="{4786F943-9286-4D26-8FEE-C10AFED55957}" type="parTrans" cxnId="{42D86CFF-33C4-4367-B163-A024FAF59C66}">
      <dgm:prSet/>
      <dgm:spPr/>
      <dgm:t>
        <a:bodyPr/>
        <a:lstStyle/>
        <a:p>
          <a:endParaRPr lang="en-US"/>
        </a:p>
      </dgm:t>
    </dgm:pt>
    <dgm:pt modelId="{5A77CC88-CB5C-4429-ABC9-3C2F45D39860}" type="sibTrans" cxnId="{42D86CFF-33C4-4367-B163-A024FAF59C66}">
      <dgm:prSet/>
      <dgm:spPr/>
      <dgm:t>
        <a:bodyPr/>
        <a:lstStyle/>
        <a:p>
          <a:endParaRPr lang="en-US"/>
        </a:p>
      </dgm:t>
    </dgm:pt>
    <dgm:pt modelId="{DB640F3B-4C21-4015-AE69-1B6778622373}">
      <dgm:prSet phldrT="[Text]"/>
      <dgm:spPr/>
      <dgm:t>
        <a:bodyPr/>
        <a:lstStyle/>
        <a:p>
          <a:r>
            <a:rPr lang="de-DE" b="0" i="0" dirty="0"/>
            <a:t>Development </a:t>
          </a:r>
          <a:r>
            <a:rPr lang="de-DE" b="0" i="0" dirty="0" err="1"/>
            <a:t>Planning</a:t>
          </a:r>
          <a:endParaRPr lang="en-US" dirty="0"/>
        </a:p>
      </dgm:t>
    </dgm:pt>
    <dgm:pt modelId="{7C2FCCA1-595E-4961-9AA0-9D274D690720}" type="parTrans" cxnId="{092D4EEF-2B72-43E6-A0A8-42DFF69C6B03}">
      <dgm:prSet/>
      <dgm:spPr/>
      <dgm:t>
        <a:bodyPr/>
        <a:lstStyle/>
        <a:p>
          <a:endParaRPr lang="en-US"/>
        </a:p>
      </dgm:t>
    </dgm:pt>
    <dgm:pt modelId="{FBC30D0F-09C4-4FC0-93C7-2EB174C4D4BA}" type="sibTrans" cxnId="{092D4EEF-2B72-43E6-A0A8-42DFF69C6B03}">
      <dgm:prSet/>
      <dgm:spPr/>
      <dgm:t>
        <a:bodyPr/>
        <a:lstStyle/>
        <a:p>
          <a:endParaRPr lang="en-US"/>
        </a:p>
      </dgm:t>
    </dgm:pt>
    <dgm:pt modelId="{ECABBD84-7237-4922-9FFE-28C990A04BA6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/>
            <a:t>Identifying strengths and areas for improvement</a:t>
          </a:r>
          <a:endParaRPr lang="en-US" dirty="0"/>
        </a:p>
      </dgm:t>
    </dgm:pt>
    <dgm:pt modelId="{1AEA3C47-A7F5-477D-AC9B-16D0810F3E47}" type="parTrans" cxnId="{3370142F-79C9-4C4D-AD7A-6202DD6BAB21}">
      <dgm:prSet/>
      <dgm:spPr/>
      <dgm:t>
        <a:bodyPr/>
        <a:lstStyle/>
        <a:p>
          <a:endParaRPr lang="en-US"/>
        </a:p>
      </dgm:t>
    </dgm:pt>
    <dgm:pt modelId="{16BB9A87-3C23-460E-A625-44F94F8D7B16}" type="sibTrans" cxnId="{3370142F-79C9-4C4D-AD7A-6202DD6BAB21}">
      <dgm:prSet/>
      <dgm:spPr/>
      <dgm:t>
        <a:bodyPr/>
        <a:lstStyle/>
        <a:p>
          <a:endParaRPr lang="en-US"/>
        </a:p>
      </dgm:t>
    </dgm:pt>
    <dgm:pt modelId="{DF650C8A-F291-4493-A45E-BB6E95C3693B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Manager evaluation</a:t>
          </a:r>
          <a:endParaRPr lang="en-US" dirty="0"/>
        </a:p>
      </dgm:t>
    </dgm:pt>
    <dgm:pt modelId="{9EC5EF6E-43DA-4A79-AD09-CC2A57FF5989}" type="parTrans" cxnId="{DC91A3EE-065C-4EA2-932E-A6BAE72F79F5}">
      <dgm:prSet/>
      <dgm:spPr/>
    </dgm:pt>
    <dgm:pt modelId="{95692986-92B1-4B28-A3A2-1B1CAEC23520}" type="sibTrans" cxnId="{DC91A3EE-065C-4EA2-932E-A6BAE72F79F5}">
      <dgm:prSet/>
      <dgm:spPr/>
    </dgm:pt>
    <dgm:pt modelId="{176D188B-7D69-4DAE-9B7A-B32A8A2B5504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Calibration meetings</a:t>
          </a:r>
          <a:endParaRPr lang="en-US" dirty="0"/>
        </a:p>
      </dgm:t>
    </dgm:pt>
    <dgm:pt modelId="{25ABE931-DD8B-46BA-9DC1-B63267035702}" type="parTrans" cxnId="{2BA2B5D4-FD0F-45D3-9FE2-51071AEAB4F7}">
      <dgm:prSet/>
      <dgm:spPr/>
    </dgm:pt>
    <dgm:pt modelId="{5F2EA8E1-A120-4F16-9A3C-AACB10560CE7}" type="sibTrans" cxnId="{2BA2B5D4-FD0F-45D3-9FE2-51071AEAB4F7}">
      <dgm:prSet/>
      <dgm:spPr/>
    </dgm:pt>
    <dgm:pt modelId="{B858298E-CCA8-4A2C-8D0F-23616A7C4FBC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Final performance rating</a:t>
          </a:r>
          <a:endParaRPr lang="en-US" dirty="0"/>
        </a:p>
      </dgm:t>
    </dgm:pt>
    <dgm:pt modelId="{D41F4038-3447-4262-94D3-8271CB25F1C6}" type="parTrans" cxnId="{C05555B7-32D0-405A-941E-AEAA70E4BC2C}">
      <dgm:prSet/>
      <dgm:spPr/>
    </dgm:pt>
    <dgm:pt modelId="{09013907-2A75-4DC3-B0D3-94F5080F6E34}" type="sibTrans" cxnId="{C05555B7-32D0-405A-941E-AEAA70E4BC2C}">
      <dgm:prSet/>
      <dgm:spPr/>
    </dgm:pt>
    <dgm:pt modelId="{AC3D764A-5CA5-44ED-8EC6-68E319C68166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Creating personalized development plans</a:t>
          </a:r>
          <a:endParaRPr lang="en-US" dirty="0"/>
        </a:p>
      </dgm:t>
    </dgm:pt>
    <dgm:pt modelId="{8783F3C3-46B2-4C63-84C6-6DB35FE431D2}" type="parTrans" cxnId="{EE44ADB8-41B9-4F92-8013-260B6850695F}">
      <dgm:prSet/>
      <dgm:spPr/>
    </dgm:pt>
    <dgm:pt modelId="{516DDC60-3C03-4A24-96ED-17FBBAD70061}" type="sibTrans" cxnId="{EE44ADB8-41B9-4F92-8013-260B6850695F}">
      <dgm:prSet/>
      <dgm:spPr/>
    </dgm:pt>
    <dgm:pt modelId="{5D21365E-E318-4122-9F59-A2E66DBB289C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Development opportunities:</a:t>
          </a:r>
          <a:endParaRPr lang="en-US" dirty="0"/>
        </a:p>
      </dgm:t>
    </dgm:pt>
    <dgm:pt modelId="{3824F80B-6C91-4CA9-A67B-0A5233120A6C}" type="parTrans" cxnId="{FF855D0C-16A0-44A3-82EF-36E3373A5B6C}">
      <dgm:prSet/>
      <dgm:spPr/>
    </dgm:pt>
    <dgm:pt modelId="{074AF429-997E-4E1E-B73A-DB8F4ADC8D1E}" type="sibTrans" cxnId="{FF855D0C-16A0-44A3-82EF-36E3373A5B6C}">
      <dgm:prSet/>
      <dgm:spPr/>
    </dgm:pt>
    <dgm:pt modelId="{92ED6F19-5668-4961-B114-1093560EC517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Training and workshops</a:t>
          </a:r>
        </a:p>
      </dgm:t>
    </dgm:pt>
    <dgm:pt modelId="{49A6F44C-4CB7-4DDA-ADC6-0A0750051F10}" type="parTrans" cxnId="{9E1811FD-7331-43D6-A632-E9DF03455486}">
      <dgm:prSet/>
      <dgm:spPr/>
      <dgm:t>
        <a:bodyPr/>
        <a:lstStyle/>
        <a:p>
          <a:endParaRPr lang="en-US"/>
        </a:p>
      </dgm:t>
    </dgm:pt>
    <dgm:pt modelId="{45E1CF20-2A7A-43F7-9EFF-34036FF09375}" type="sibTrans" cxnId="{9E1811FD-7331-43D6-A632-E9DF03455486}">
      <dgm:prSet/>
      <dgm:spPr/>
      <dgm:t>
        <a:bodyPr/>
        <a:lstStyle/>
        <a:p>
          <a:endParaRPr lang="en-US"/>
        </a:p>
      </dgm:t>
    </dgm:pt>
    <dgm:pt modelId="{8DAD1446-5739-4768-90DE-9955C2C09120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Mentoring and coaching</a:t>
          </a:r>
        </a:p>
      </dgm:t>
    </dgm:pt>
    <dgm:pt modelId="{F5B2FCD0-C4F1-42B3-B6D8-51EA80450D28}" type="parTrans" cxnId="{D37B8560-2771-4921-A563-0AC91846873F}">
      <dgm:prSet/>
      <dgm:spPr/>
      <dgm:t>
        <a:bodyPr/>
        <a:lstStyle/>
        <a:p>
          <a:endParaRPr lang="en-US"/>
        </a:p>
      </dgm:t>
    </dgm:pt>
    <dgm:pt modelId="{1EF7C353-3CFC-4DB1-A238-3C3CEE18A5E1}" type="sibTrans" cxnId="{D37B8560-2771-4921-A563-0AC91846873F}">
      <dgm:prSet/>
      <dgm:spPr/>
      <dgm:t>
        <a:bodyPr/>
        <a:lstStyle/>
        <a:p>
          <a:endParaRPr lang="en-US"/>
        </a:p>
      </dgm:t>
    </dgm:pt>
    <dgm:pt modelId="{A7A68CD9-F527-41EA-BB60-C5A5D9B306F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Job shadowing</a:t>
          </a:r>
        </a:p>
      </dgm:t>
    </dgm:pt>
    <dgm:pt modelId="{A8C8BF84-D092-4430-A7F5-229338816981}" type="parTrans" cxnId="{F3F83B56-F38F-48FA-99D7-04E0947DBC70}">
      <dgm:prSet/>
      <dgm:spPr/>
      <dgm:t>
        <a:bodyPr/>
        <a:lstStyle/>
        <a:p>
          <a:endParaRPr lang="en-US"/>
        </a:p>
      </dgm:t>
    </dgm:pt>
    <dgm:pt modelId="{A8C0EDAB-FDA3-4D3D-AD1E-4597C914FB7B}" type="sibTrans" cxnId="{F3F83B56-F38F-48FA-99D7-04E0947DBC70}">
      <dgm:prSet/>
      <dgm:spPr/>
      <dgm:t>
        <a:bodyPr/>
        <a:lstStyle/>
        <a:p>
          <a:endParaRPr lang="en-US"/>
        </a:p>
      </dgm:t>
    </dgm:pt>
    <dgm:pt modelId="{127B1061-8647-46D4-9B5D-13F2DB6115A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Stretch assignments</a:t>
          </a:r>
        </a:p>
      </dgm:t>
    </dgm:pt>
    <dgm:pt modelId="{F7AD5DC2-BC95-4AFD-B1EA-7125F6D96794}" type="parTrans" cxnId="{540771E1-A850-45C4-B63D-ED02984A2CDF}">
      <dgm:prSet/>
      <dgm:spPr/>
      <dgm:t>
        <a:bodyPr/>
        <a:lstStyle/>
        <a:p>
          <a:endParaRPr lang="en-US"/>
        </a:p>
      </dgm:t>
    </dgm:pt>
    <dgm:pt modelId="{05140337-56C7-4902-902C-A46FBFF3A395}" type="sibTrans" cxnId="{540771E1-A850-45C4-B63D-ED02984A2CDF}">
      <dgm:prSet/>
      <dgm:spPr/>
      <dgm:t>
        <a:bodyPr/>
        <a:lstStyle/>
        <a:p>
          <a:endParaRPr lang="en-US"/>
        </a:p>
      </dgm:t>
    </dgm:pt>
    <dgm:pt modelId="{B045B35B-00A9-4190-88FD-A1F5C0E1BA8E}" type="pres">
      <dgm:prSet presAssocID="{533FCE61-3E3E-4521-B102-C5A3BFE26C73}" presName="linear" presStyleCnt="0">
        <dgm:presLayoutVars>
          <dgm:animLvl val="lvl"/>
          <dgm:resizeHandles val="exact"/>
        </dgm:presLayoutVars>
      </dgm:prSet>
      <dgm:spPr/>
    </dgm:pt>
    <dgm:pt modelId="{9FA1F342-D7F9-4E3A-A27E-B80BCBDDE0D6}" type="pres">
      <dgm:prSet presAssocID="{B99CA443-3427-41FC-B44D-E4A0E4519043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07B178E9-2BE9-414E-A54E-3D56CEAD94F3}" type="pres">
      <dgm:prSet presAssocID="{B99CA443-3427-41FC-B44D-E4A0E4519043}" presName="childText" presStyleLbl="revTx" presStyleIdx="0" presStyleCnt="2">
        <dgm:presLayoutVars>
          <dgm:bulletEnabled val="1"/>
        </dgm:presLayoutVars>
      </dgm:prSet>
      <dgm:spPr/>
    </dgm:pt>
    <dgm:pt modelId="{5FB32C67-373A-4285-94C6-D22AACAFF46A}" type="pres">
      <dgm:prSet presAssocID="{DB640F3B-4C21-4015-AE69-1B6778622373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3AC27DB1-9210-4D33-9726-C726BB01EF9E}" type="pres">
      <dgm:prSet presAssocID="{DB640F3B-4C21-4015-AE69-1B6778622373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FF855D0C-16A0-44A3-82EF-36E3373A5B6C}" srcId="{DB640F3B-4C21-4015-AE69-1B6778622373}" destId="{5D21365E-E318-4122-9F59-A2E66DBB289C}" srcOrd="2" destOrd="0" parTransId="{3824F80B-6C91-4CA9-A67B-0A5233120A6C}" sibTransId="{074AF429-997E-4E1E-B73A-DB8F4ADC8D1E}"/>
    <dgm:cxn modelId="{615FB418-F52A-4B93-8428-5D9AA826BD18}" type="presOf" srcId="{A7A68CD9-F527-41EA-BB60-C5A5D9B306F6}" destId="{3AC27DB1-9210-4D33-9726-C726BB01EF9E}" srcOrd="0" destOrd="5" presId="urn:microsoft.com/office/officeart/2005/8/layout/vList2"/>
    <dgm:cxn modelId="{3370142F-79C9-4C4D-AD7A-6202DD6BAB21}" srcId="{DB640F3B-4C21-4015-AE69-1B6778622373}" destId="{ECABBD84-7237-4922-9FFE-28C990A04BA6}" srcOrd="0" destOrd="0" parTransId="{1AEA3C47-A7F5-477D-AC9B-16D0810F3E47}" sibTransId="{16BB9A87-3C23-460E-A625-44F94F8D7B16}"/>
    <dgm:cxn modelId="{884F9035-0BC0-4BC6-A2F5-8FF28DCF5E72}" type="presOf" srcId="{B858298E-CCA8-4A2C-8D0F-23616A7C4FBC}" destId="{07B178E9-2BE9-414E-A54E-3D56CEAD94F3}" srcOrd="0" destOrd="3" presId="urn:microsoft.com/office/officeart/2005/8/layout/vList2"/>
    <dgm:cxn modelId="{D37B8560-2771-4921-A563-0AC91846873F}" srcId="{5D21365E-E318-4122-9F59-A2E66DBB289C}" destId="{8DAD1446-5739-4768-90DE-9955C2C09120}" srcOrd="1" destOrd="0" parTransId="{F5B2FCD0-C4F1-42B3-B6D8-51EA80450D28}" sibTransId="{1EF7C353-3CFC-4DB1-A238-3C3CEE18A5E1}"/>
    <dgm:cxn modelId="{F1ACEB67-3979-442D-9CE1-CD8A1EF35C3F}" type="presOf" srcId="{92ED6F19-5668-4961-B114-1093560EC517}" destId="{3AC27DB1-9210-4D33-9726-C726BB01EF9E}" srcOrd="0" destOrd="3" presId="urn:microsoft.com/office/officeart/2005/8/layout/vList2"/>
    <dgm:cxn modelId="{F3F83B56-F38F-48FA-99D7-04E0947DBC70}" srcId="{5D21365E-E318-4122-9F59-A2E66DBB289C}" destId="{A7A68CD9-F527-41EA-BB60-C5A5D9B306F6}" srcOrd="2" destOrd="0" parTransId="{A8C8BF84-D092-4430-A7F5-229338816981}" sibTransId="{A8C0EDAB-FDA3-4D3D-AD1E-4597C914FB7B}"/>
    <dgm:cxn modelId="{ED3E3C7C-EC67-477F-9E5A-F5C694E2E1EC}" type="presOf" srcId="{DB640F3B-4C21-4015-AE69-1B6778622373}" destId="{5FB32C67-373A-4285-94C6-D22AACAFF46A}" srcOrd="0" destOrd="0" presId="urn:microsoft.com/office/officeart/2005/8/layout/vList2"/>
    <dgm:cxn modelId="{1336D27D-2279-45E6-AF4A-D444342F5F06}" srcId="{533FCE61-3E3E-4521-B102-C5A3BFE26C73}" destId="{B99CA443-3427-41FC-B44D-E4A0E4519043}" srcOrd="0" destOrd="0" parTransId="{69A0E3E3-8269-4E58-B2D2-4AC8843965AD}" sibTransId="{74D8CA73-C2DD-4CC9-A56A-1F0EF888C119}"/>
    <dgm:cxn modelId="{F638E880-B57D-40E2-B4B1-EE443A99CAA4}" type="presOf" srcId="{DF650C8A-F291-4493-A45E-BB6E95C3693B}" destId="{07B178E9-2BE9-414E-A54E-3D56CEAD94F3}" srcOrd="0" destOrd="1" presId="urn:microsoft.com/office/officeart/2005/8/layout/vList2"/>
    <dgm:cxn modelId="{39BBAEA9-1C60-4282-9AFA-EAFECA84BBAA}" type="presOf" srcId="{B99CA443-3427-41FC-B44D-E4A0E4519043}" destId="{9FA1F342-D7F9-4E3A-A27E-B80BCBDDE0D6}" srcOrd="0" destOrd="0" presId="urn:microsoft.com/office/officeart/2005/8/layout/vList2"/>
    <dgm:cxn modelId="{C05555B7-32D0-405A-941E-AEAA70E4BC2C}" srcId="{B99CA443-3427-41FC-B44D-E4A0E4519043}" destId="{B858298E-CCA8-4A2C-8D0F-23616A7C4FBC}" srcOrd="3" destOrd="0" parTransId="{D41F4038-3447-4262-94D3-8271CB25F1C6}" sibTransId="{09013907-2A75-4DC3-B0D3-94F5080F6E34}"/>
    <dgm:cxn modelId="{CE2156B8-9D2D-4354-AE1E-65C22F2A19C1}" type="presOf" srcId="{533FCE61-3E3E-4521-B102-C5A3BFE26C73}" destId="{B045B35B-00A9-4190-88FD-A1F5C0E1BA8E}" srcOrd="0" destOrd="0" presId="urn:microsoft.com/office/officeart/2005/8/layout/vList2"/>
    <dgm:cxn modelId="{EE44ADB8-41B9-4F92-8013-260B6850695F}" srcId="{DB640F3B-4C21-4015-AE69-1B6778622373}" destId="{AC3D764A-5CA5-44ED-8EC6-68E319C68166}" srcOrd="1" destOrd="0" parTransId="{8783F3C3-46B2-4C63-84C6-6DB35FE431D2}" sibTransId="{516DDC60-3C03-4A24-96ED-17FBBAD70061}"/>
    <dgm:cxn modelId="{113AE7CB-BC8B-4B4F-9BEA-6C0C4B9CE5CC}" type="presOf" srcId="{127B1061-8647-46D4-9B5D-13F2DB6115A6}" destId="{3AC27DB1-9210-4D33-9726-C726BB01EF9E}" srcOrd="0" destOrd="6" presId="urn:microsoft.com/office/officeart/2005/8/layout/vList2"/>
    <dgm:cxn modelId="{2BA2B5D4-FD0F-45D3-9FE2-51071AEAB4F7}" srcId="{B99CA443-3427-41FC-B44D-E4A0E4519043}" destId="{176D188B-7D69-4DAE-9B7A-B32A8A2B5504}" srcOrd="2" destOrd="0" parTransId="{25ABE931-DD8B-46BA-9DC1-B63267035702}" sibTransId="{5F2EA8E1-A120-4F16-9A3C-AACB10560CE7}"/>
    <dgm:cxn modelId="{D8310FD7-8DEB-47B1-BF93-678C7EECA9EF}" type="presOf" srcId="{CFD63DE3-A844-49EC-A3E4-3DE1B74C38AC}" destId="{07B178E9-2BE9-414E-A54E-3D56CEAD94F3}" srcOrd="0" destOrd="0" presId="urn:microsoft.com/office/officeart/2005/8/layout/vList2"/>
    <dgm:cxn modelId="{CE3810E0-0FD8-436F-A8F3-D9F09720CA37}" type="presOf" srcId="{5D21365E-E318-4122-9F59-A2E66DBB289C}" destId="{3AC27DB1-9210-4D33-9726-C726BB01EF9E}" srcOrd="0" destOrd="2" presId="urn:microsoft.com/office/officeart/2005/8/layout/vList2"/>
    <dgm:cxn modelId="{2C9472E0-E73E-4BB7-98C1-19CD01785015}" type="presOf" srcId="{ECABBD84-7237-4922-9FFE-28C990A04BA6}" destId="{3AC27DB1-9210-4D33-9726-C726BB01EF9E}" srcOrd="0" destOrd="0" presId="urn:microsoft.com/office/officeart/2005/8/layout/vList2"/>
    <dgm:cxn modelId="{40B6FEE0-0D9E-4B63-B2FC-FFAB6204896D}" type="presOf" srcId="{AC3D764A-5CA5-44ED-8EC6-68E319C68166}" destId="{3AC27DB1-9210-4D33-9726-C726BB01EF9E}" srcOrd="0" destOrd="1" presId="urn:microsoft.com/office/officeart/2005/8/layout/vList2"/>
    <dgm:cxn modelId="{540771E1-A850-45C4-B63D-ED02984A2CDF}" srcId="{5D21365E-E318-4122-9F59-A2E66DBB289C}" destId="{127B1061-8647-46D4-9B5D-13F2DB6115A6}" srcOrd="3" destOrd="0" parTransId="{F7AD5DC2-BC95-4AFD-B1EA-7125F6D96794}" sibTransId="{05140337-56C7-4902-902C-A46FBFF3A395}"/>
    <dgm:cxn modelId="{DC91A3EE-065C-4EA2-932E-A6BAE72F79F5}" srcId="{B99CA443-3427-41FC-B44D-E4A0E4519043}" destId="{DF650C8A-F291-4493-A45E-BB6E95C3693B}" srcOrd="1" destOrd="0" parTransId="{9EC5EF6E-43DA-4A79-AD09-CC2A57FF5989}" sibTransId="{95692986-92B1-4B28-A3A2-1B1CAEC23520}"/>
    <dgm:cxn modelId="{092D4EEF-2B72-43E6-A0A8-42DFF69C6B03}" srcId="{533FCE61-3E3E-4521-B102-C5A3BFE26C73}" destId="{DB640F3B-4C21-4015-AE69-1B6778622373}" srcOrd="1" destOrd="0" parTransId="{7C2FCCA1-595E-4961-9AA0-9D274D690720}" sibTransId="{FBC30D0F-09C4-4FC0-93C7-2EB174C4D4BA}"/>
    <dgm:cxn modelId="{5A7193EF-9BD1-4AD1-80CF-48AA72CA9925}" type="presOf" srcId="{176D188B-7D69-4DAE-9B7A-B32A8A2B5504}" destId="{07B178E9-2BE9-414E-A54E-3D56CEAD94F3}" srcOrd="0" destOrd="2" presId="urn:microsoft.com/office/officeart/2005/8/layout/vList2"/>
    <dgm:cxn modelId="{AB6468F8-0655-46C2-BD42-8C2411FA14EC}" type="presOf" srcId="{8DAD1446-5739-4768-90DE-9955C2C09120}" destId="{3AC27DB1-9210-4D33-9726-C726BB01EF9E}" srcOrd="0" destOrd="4" presId="urn:microsoft.com/office/officeart/2005/8/layout/vList2"/>
    <dgm:cxn modelId="{9E1811FD-7331-43D6-A632-E9DF03455486}" srcId="{5D21365E-E318-4122-9F59-A2E66DBB289C}" destId="{92ED6F19-5668-4961-B114-1093560EC517}" srcOrd="0" destOrd="0" parTransId="{49A6F44C-4CB7-4DDA-ADC6-0A0750051F10}" sibTransId="{45E1CF20-2A7A-43F7-9EFF-34036FF09375}"/>
    <dgm:cxn modelId="{42D86CFF-33C4-4367-B163-A024FAF59C66}" srcId="{B99CA443-3427-41FC-B44D-E4A0E4519043}" destId="{CFD63DE3-A844-49EC-A3E4-3DE1B74C38AC}" srcOrd="0" destOrd="0" parTransId="{4786F943-9286-4D26-8FEE-C10AFED55957}" sibTransId="{5A77CC88-CB5C-4429-ABC9-3C2F45D39860}"/>
    <dgm:cxn modelId="{D56D54F8-D8FE-45A3-801B-9D20C1E37A51}" type="presParOf" srcId="{B045B35B-00A9-4190-88FD-A1F5C0E1BA8E}" destId="{9FA1F342-D7F9-4E3A-A27E-B80BCBDDE0D6}" srcOrd="0" destOrd="0" presId="urn:microsoft.com/office/officeart/2005/8/layout/vList2"/>
    <dgm:cxn modelId="{C1C23112-4C7E-4831-BABC-5D0D8CF77D4D}" type="presParOf" srcId="{B045B35B-00A9-4190-88FD-A1F5C0E1BA8E}" destId="{07B178E9-2BE9-414E-A54E-3D56CEAD94F3}" srcOrd="1" destOrd="0" presId="urn:microsoft.com/office/officeart/2005/8/layout/vList2"/>
    <dgm:cxn modelId="{45CFED57-9C94-4DD3-88C9-BA1DFD2F18DC}" type="presParOf" srcId="{B045B35B-00A9-4190-88FD-A1F5C0E1BA8E}" destId="{5FB32C67-373A-4285-94C6-D22AACAFF46A}" srcOrd="2" destOrd="0" presId="urn:microsoft.com/office/officeart/2005/8/layout/vList2"/>
    <dgm:cxn modelId="{487E5A64-7FB8-4962-B220-0CF9B856831E}" type="presParOf" srcId="{B045B35B-00A9-4190-88FD-A1F5C0E1BA8E}" destId="{3AC27DB1-9210-4D33-9726-C726BB01EF9E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C79075-98F0-44CF-ABF4-82022E1123B3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FCCE49A5-7CBD-4B7E-ACA2-CBB7D62C4AE3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 dirty="0" err="1"/>
            <a:t>Employees</a:t>
          </a:r>
          <a:r>
            <a:rPr lang="de-DE" b="0" i="0" dirty="0"/>
            <a:t>:</a:t>
          </a:r>
          <a:endParaRPr lang="en-US" dirty="0"/>
        </a:p>
      </dgm:t>
    </dgm:pt>
    <dgm:pt modelId="{20D9DF85-875C-4B27-87B4-8FCB6777D8F1}" type="parTrans" cxnId="{CF883D43-95E2-400A-9769-176EF7C9720C}">
      <dgm:prSet/>
      <dgm:spPr/>
      <dgm:t>
        <a:bodyPr/>
        <a:lstStyle/>
        <a:p>
          <a:endParaRPr lang="en-US"/>
        </a:p>
      </dgm:t>
    </dgm:pt>
    <dgm:pt modelId="{9B93C036-ADE6-47BE-9319-E81DEA37762A}" type="sibTrans" cxnId="{CF883D43-95E2-400A-9769-176EF7C9720C}">
      <dgm:prSet/>
      <dgm:spPr/>
      <dgm:t>
        <a:bodyPr/>
        <a:lstStyle/>
        <a:p>
          <a:endParaRPr lang="en-US"/>
        </a:p>
      </dgm:t>
    </dgm:pt>
    <dgm:pt modelId="{C7BB3623-30E8-4E2E-AB95-E524D5E09321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 dirty="0"/>
            <a:t>Managers:</a:t>
          </a:r>
          <a:endParaRPr lang="en-US" dirty="0"/>
        </a:p>
      </dgm:t>
    </dgm:pt>
    <dgm:pt modelId="{F22D535B-2F1E-4D71-98CF-6B7E6D38C085}" type="parTrans" cxnId="{54EE7B02-B162-4999-AC55-911D8EA714B4}">
      <dgm:prSet/>
      <dgm:spPr/>
      <dgm:t>
        <a:bodyPr/>
        <a:lstStyle/>
        <a:p>
          <a:endParaRPr lang="en-US"/>
        </a:p>
      </dgm:t>
    </dgm:pt>
    <dgm:pt modelId="{AE79EE8D-375B-49E2-A522-E4BA273FB7DB}" type="sibTrans" cxnId="{54EE7B02-B162-4999-AC55-911D8EA714B4}">
      <dgm:prSet/>
      <dgm:spPr/>
      <dgm:t>
        <a:bodyPr/>
        <a:lstStyle/>
        <a:p>
          <a:endParaRPr lang="en-US"/>
        </a:p>
      </dgm:t>
    </dgm:pt>
    <dgm:pt modelId="{3300C8B7-80A5-4E2C-87CA-07F29CBD8A4B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de-DE" b="0" i="0"/>
            <a:t>HR:</a:t>
          </a:r>
          <a:endParaRPr lang="en-US" dirty="0"/>
        </a:p>
      </dgm:t>
    </dgm:pt>
    <dgm:pt modelId="{661394A1-404F-4B17-8C10-48A88F9D74A1}" type="parTrans" cxnId="{B771AA72-B3D2-4CA8-B51D-11FDB1BE0CF0}">
      <dgm:prSet/>
      <dgm:spPr/>
      <dgm:t>
        <a:bodyPr/>
        <a:lstStyle/>
        <a:p>
          <a:endParaRPr lang="en-US"/>
        </a:p>
      </dgm:t>
    </dgm:pt>
    <dgm:pt modelId="{4F80A970-20EF-4C5E-B5A2-CC09A99B6B16}" type="sibTrans" cxnId="{B771AA72-B3D2-4CA8-B51D-11FDB1BE0CF0}">
      <dgm:prSet/>
      <dgm:spPr/>
      <dgm:t>
        <a:bodyPr/>
        <a:lstStyle/>
        <a:p>
          <a:endParaRPr lang="en-US"/>
        </a:p>
      </dgm:t>
    </dgm:pt>
    <dgm:pt modelId="{44091CF2-8379-4545-AECC-894653F31B8C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Set goals, track progress, and participate in the evaluation process</a:t>
          </a:r>
        </a:p>
      </dgm:t>
    </dgm:pt>
    <dgm:pt modelId="{67CC0101-6513-4772-B232-03045629DE11}" type="parTrans" cxnId="{D98A8B65-4D67-45E1-91B8-13FE1CABE404}">
      <dgm:prSet/>
      <dgm:spPr/>
      <dgm:t>
        <a:bodyPr/>
        <a:lstStyle/>
        <a:p>
          <a:endParaRPr lang="en-US"/>
        </a:p>
      </dgm:t>
    </dgm:pt>
    <dgm:pt modelId="{8FCA30AA-E83F-4A81-B5B3-8571898B93EB}" type="sibTrans" cxnId="{D98A8B65-4D67-45E1-91B8-13FE1CABE404}">
      <dgm:prSet/>
      <dgm:spPr/>
      <dgm:t>
        <a:bodyPr/>
        <a:lstStyle/>
        <a:p>
          <a:endParaRPr lang="en-US"/>
        </a:p>
      </dgm:t>
    </dgm:pt>
    <dgm:pt modelId="{868B2A2A-B612-420B-A89F-79A3520033BB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Identify development needs and actively pursue growth opportunities</a:t>
          </a:r>
        </a:p>
      </dgm:t>
    </dgm:pt>
    <dgm:pt modelId="{04371854-C94B-4B35-AEDF-92C53A1E21DB}" type="parTrans" cxnId="{FAFC8520-FC77-41B8-9652-B3F2FE327C31}">
      <dgm:prSet/>
      <dgm:spPr/>
      <dgm:t>
        <a:bodyPr/>
        <a:lstStyle/>
        <a:p>
          <a:endParaRPr lang="en-US"/>
        </a:p>
      </dgm:t>
    </dgm:pt>
    <dgm:pt modelId="{BFB9B7E2-20C0-4A40-8EA8-FEA61BAA686C}" type="sibTrans" cxnId="{FAFC8520-FC77-41B8-9652-B3F2FE327C31}">
      <dgm:prSet/>
      <dgm:spPr/>
      <dgm:t>
        <a:bodyPr/>
        <a:lstStyle/>
        <a:p>
          <a:endParaRPr lang="en-US"/>
        </a:p>
      </dgm:t>
    </dgm:pt>
    <dgm:pt modelId="{6E75C186-A801-439B-AD68-CF6E51C1CFC4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Provide regular feedback and coaching</a:t>
          </a:r>
        </a:p>
      </dgm:t>
    </dgm:pt>
    <dgm:pt modelId="{23524308-4C6E-4EEC-95E1-878AD4BACE07}" type="parTrans" cxnId="{AD45C4F9-222E-4F53-BAC6-CCF25B468BF1}">
      <dgm:prSet/>
      <dgm:spPr/>
      <dgm:t>
        <a:bodyPr/>
        <a:lstStyle/>
        <a:p>
          <a:endParaRPr lang="en-US"/>
        </a:p>
      </dgm:t>
    </dgm:pt>
    <dgm:pt modelId="{5328ECBC-BD3D-4DBB-9609-85A923981B39}" type="sibTrans" cxnId="{AD45C4F9-222E-4F53-BAC6-CCF25B468BF1}">
      <dgm:prSet/>
      <dgm:spPr/>
      <dgm:t>
        <a:bodyPr/>
        <a:lstStyle/>
        <a:p>
          <a:endParaRPr lang="en-US"/>
        </a:p>
      </dgm:t>
    </dgm:pt>
    <dgm:pt modelId="{36A3FE8E-A6B1-4B0E-80B6-6EE2EFAACB43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Conduct fair and objective performance evaluations</a:t>
          </a:r>
        </a:p>
      </dgm:t>
    </dgm:pt>
    <dgm:pt modelId="{3C6DB705-D484-4BA1-A6EF-9EF78A34AF9A}" type="parTrans" cxnId="{A069A403-27FC-475B-A8A6-E17A40B8EEF1}">
      <dgm:prSet/>
      <dgm:spPr/>
      <dgm:t>
        <a:bodyPr/>
        <a:lstStyle/>
        <a:p>
          <a:endParaRPr lang="en-US"/>
        </a:p>
      </dgm:t>
    </dgm:pt>
    <dgm:pt modelId="{4DE58201-C5D3-43AD-83DC-2961DB6BB85D}" type="sibTrans" cxnId="{A069A403-27FC-475B-A8A6-E17A40B8EEF1}">
      <dgm:prSet/>
      <dgm:spPr/>
      <dgm:t>
        <a:bodyPr/>
        <a:lstStyle/>
        <a:p>
          <a:endParaRPr lang="en-US"/>
        </a:p>
      </dgm:t>
    </dgm:pt>
    <dgm:pt modelId="{306CB5D8-BD64-4A15-9B43-F2DE2EF56B5F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Support employee development and career progression</a:t>
          </a:r>
        </a:p>
      </dgm:t>
    </dgm:pt>
    <dgm:pt modelId="{F2D72DD5-F2AB-4E78-AA52-20001CCE8E9F}" type="parTrans" cxnId="{AE812908-9DD8-415B-909F-2A33D4A39255}">
      <dgm:prSet/>
      <dgm:spPr/>
      <dgm:t>
        <a:bodyPr/>
        <a:lstStyle/>
        <a:p>
          <a:endParaRPr lang="en-US"/>
        </a:p>
      </dgm:t>
    </dgm:pt>
    <dgm:pt modelId="{5154CC5C-D3D0-4BA0-8D9C-07FDEBE449C0}" type="sibTrans" cxnId="{AE812908-9DD8-415B-909F-2A33D4A39255}">
      <dgm:prSet/>
      <dgm:spPr/>
      <dgm:t>
        <a:bodyPr/>
        <a:lstStyle/>
        <a:p>
          <a:endParaRPr lang="en-US"/>
        </a:p>
      </dgm:t>
    </dgm:pt>
    <dgm:pt modelId="{C908EFAA-C2F3-4E92-9357-BB61D4D97D88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Facilitate the performance management process</a:t>
          </a:r>
        </a:p>
      </dgm:t>
    </dgm:pt>
    <dgm:pt modelId="{704A0415-8A38-40A7-B50A-AA088C9BFDBB}" type="parTrans" cxnId="{B4E9FA94-7222-42F9-9B09-068A9F8F248F}">
      <dgm:prSet/>
      <dgm:spPr/>
      <dgm:t>
        <a:bodyPr/>
        <a:lstStyle/>
        <a:p>
          <a:endParaRPr lang="en-US"/>
        </a:p>
      </dgm:t>
    </dgm:pt>
    <dgm:pt modelId="{D4AB0ACD-8F7F-4362-8B18-89DEBED18435}" type="sibTrans" cxnId="{B4E9FA94-7222-42F9-9B09-068A9F8F248F}">
      <dgm:prSet/>
      <dgm:spPr/>
      <dgm:t>
        <a:bodyPr/>
        <a:lstStyle/>
        <a:p>
          <a:endParaRPr lang="en-US"/>
        </a:p>
      </dgm:t>
    </dgm:pt>
    <dgm:pt modelId="{E5FDB36B-D26B-4903-99A8-0A46EE9513D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Ensure consistency and fairness across the organization</a:t>
          </a:r>
        </a:p>
      </dgm:t>
    </dgm:pt>
    <dgm:pt modelId="{3A4ED1DD-88EF-487A-BE5B-E1A71E4A207F}" type="parTrans" cxnId="{C78B0B4E-4978-4179-8D0E-3DE3505C83C3}">
      <dgm:prSet/>
      <dgm:spPr/>
      <dgm:t>
        <a:bodyPr/>
        <a:lstStyle/>
        <a:p>
          <a:endParaRPr lang="en-US"/>
        </a:p>
      </dgm:t>
    </dgm:pt>
    <dgm:pt modelId="{FF016776-5C97-4F16-A2A6-C217575E3BCD}" type="sibTrans" cxnId="{C78B0B4E-4978-4179-8D0E-3DE3505C83C3}">
      <dgm:prSet/>
      <dgm:spPr/>
      <dgm:t>
        <a:bodyPr/>
        <a:lstStyle/>
        <a:p>
          <a:endParaRPr lang="en-US"/>
        </a:p>
      </dgm:t>
    </dgm:pt>
    <dgm:pt modelId="{D52B1354-74DC-4ADF-8E6D-272FC219683C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/>
            <a:t>Provide guidance and resources for development and career planning</a:t>
          </a:r>
        </a:p>
      </dgm:t>
    </dgm:pt>
    <dgm:pt modelId="{F12CA584-A138-4F5D-9FC2-68B0F5627B55}" type="parTrans" cxnId="{ACD7A970-2D10-457A-990A-1DFE861AC257}">
      <dgm:prSet/>
      <dgm:spPr/>
      <dgm:t>
        <a:bodyPr/>
        <a:lstStyle/>
        <a:p>
          <a:endParaRPr lang="en-US"/>
        </a:p>
      </dgm:t>
    </dgm:pt>
    <dgm:pt modelId="{D51C0689-D799-4C3D-8F4F-DFC8B7222F54}" type="sibTrans" cxnId="{ACD7A970-2D10-457A-990A-1DFE861AC257}">
      <dgm:prSet/>
      <dgm:spPr/>
      <dgm:t>
        <a:bodyPr/>
        <a:lstStyle/>
        <a:p>
          <a:endParaRPr lang="en-US"/>
        </a:p>
      </dgm:t>
    </dgm:pt>
    <dgm:pt modelId="{1F7E2A6D-185E-4AA8-95F9-2F85DD2253E2}" type="pres">
      <dgm:prSet presAssocID="{62C79075-98F0-44CF-ABF4-82022E1123B3}" presName="compositeShape" presStyleCnt="0">
        <dgm:presLayoutVars>
          <dgm:chMax val="7"/>
          <dgm:dir/>
          <dgm:resizeHandles val="exact"/>
        </dgm:presLayoutVars>
      </dgm:prSet>
      <dgm:spPr/>
    </dgm:pt>
    <dgm:pt modelId="{09956F45-A4BD-4684-945D-7321E162C885}" type="pres">
      <dgm:prSet presAssocID="{FCCE49A5-7CBD-4B7E-ACA2-CBB7D62C4AE3}" presName="circ1" presStyleLbl="vennNode1" presStyleIdx="0" presStyleCnt="3"/>
      <dgm:spPr/>
    </dgm:pt>
    <dgm:pt modelId="{A5279257-C37C-41DB-93C3-ACAC2FDF6682}" type="pres">
      <dgm:prSet presAssocID="{FCCE49A5-7CBD-4B7E-ACA2-CBB7D62C4AE3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21017EFF-4C84-4696-8D34-91524FD090C6}" type="pres">
      <dgm:prSet presAssocID="{C7BB3623-30E8-4E2E-AB95-E524D5E09321}" presName="circ2" presStyleLbl="vennNode1" presStyleIdx="1" presStyleCnt="3"/>
      <dgm:spPr/>
    </dgm:pt>
    <dgm:pt modelId="{CD0EC071-74E6-486A-94A2-242DF7396D39}" type="pres">
      <dgm:prSet presAssocID="{C7BB3623-30E8-4E2E-AB95-E524D5E09321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58F70508-6F37-4576-9409-23D8595A0A12}" type="pres">
      <dgm:prSet presAssocID="{3300C8B7-80A5-4E2C-87CA-07F29CBD8A4B}" presName="circ3" presStyleLbl="vennNode1" presStyleIdx="2" presStyleCnt="3"/>
      <dgm:spPr/>
    </dgm:pt>
    <dgm:pt modelId="{38217C84-61CE-4569-9174-B2E9F29D17A8}" type="pres">
      <dgm:prSet presAssocID="{3300C8B7-80A5-4E2C-87CA-07F29CBD8A4B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54EE7B02-B162-4999-AC55-911D8EA714B4}" srcId="{62C79075-98F0-44CF-ABF4-82022E1123B3}" destId="{C7BB3623-30E8-4E2E-AB95-E524D5E09321}" srcOrd="1" destOrd="0" parTransId="{F22D535B-2F1E-4D71-98CF-6B7E6D38C085}" sibTransId="{AE79EE8D-375B-49E2-A522-E4BA273FB7DB}"/>
    <dgm:cxn modelId="{A069A403-27FC-475B-A8A6-E17A40B8EEF1}" srcId="{C7BB3623-30E8-4E2E-AB95-E524D5E09321}" destId="{36A3FE8E-A6B1-4B0E-80B6-6EE2EFAACB43}" srcOrd="1" destOrd="0" parTransId="{3C6DB705-D484-4BA1-A6EF-9EF78A34AF9A}" sibTransId="{4DE58201-C5D3-43AD-83DC-2961DB6BB85D}"/>
    <dgm:cxn modelId="{AE812908-9DD8-415B-909F-2A33D4A39255}" srcId="{C7BB3623-30E8-4E2E-AB95-E524D5E09321}" destId="{306CB5D8-BD64-4A15-9B43-F2DE2EF56B5F}" srcOrd="2" destOrd="0" parTransId="{F2D72DD5-F2AB-4E78-AA52-20001CCE8E9F}" sibTransId="{5154CC5C-D3D0-4BA0-8D9C-07FDEBE449C0}"/>
    <dgm:cxn modelId="{CEA68E0B-E602-44D3-9C4F-9CF0D3772925}" type="presOf" srcId="{62C79075-98F0-44CF-ABF4-82022E1123B3}" destId="{1F7E2A6D-185E-4AA8-95F9-2F85DD2253E2}" srcOrd="0" destOrd="0" presId="urn:microsoft.com/office/officeart/2005/8/layout/venn1"/>
    <dgm:cxn modelId="{0C856A18-D114-42E8-B8BD-529FBE29E3A0}" type="presOf" srcId="{6E75C186-A801-439B-AD68-CF6E51C1CFC4}" destId="{CD0EC071-74E6-486A-94A2-242DF7396D39}" srcOrd="1" destOrd="1" presId="urn:microsoft.com/office/officeart/2005/8/layout/venn1"/>
    <dgm:cxn modelId="{E66D471B-3DAA-47CB-8114-C05B442EA487}" type="presOf" srcId="{868B2A2A-B612-420B-A89F-79A3520033BB}" destId="{09956F45-A4BD-4684-945D-7321E162C885}" srcOrd="0" destOrd="2" presId="urn:microsoft.com/office/officeart/2005/8/layout/venn1"/>
    <dgm:cxn modelId="{6D79CC1D-3BB2-49C6-BF1B-D133446B2986}" type="presOf" srcId="{306CB5D8-BD64-4A15-9B43-F2DE2EF56B5F}" destId="{21017EFF-4C84-4696-8D34-91524FD090C6}" srcOrd="0" destOrd="3" presId="urn:microsoft.com/office/officeart/2005/8/layout/venn1"/>
    <dgm:cxn modelId="{FAFC8520-FC77-41B8-9652-B3F2FE327C31}" srcId="{FCCE49A5-7CBD-4B7E-ACA2-CBB7D62C4AE3}" destId="{868B2A2A-B612-420B-A89F-79A3520033BB}" srcOrd="1" destOrd="0" parTransId="{04371854-C94B-4B35-AEDF-92C53A1E21DB}" sibTransId="{BFB9B7E2-20C0-4A40-8EA8-FEA61BAA686C}"/>
    <dgm:cxn modelId="{7AB24728-6709-4523-9CE7-2A4B6B062936}" type="presOf" srcId="{D52B1354-74DC-4ADF-8E6D-272FC219683C}" destId="{38217C84-61CE-4569-9174-B2E9F29D17A8}" srcOrd="1" destOrd="3" presId="urn:microsoft.com/office/officeart/2005/8/layout/venn1"/>
    <dgm:cxn modelId="{D8DDE53F-3CA6-4FC4-8D45-3E7E9BADC979}" type="presOf" srcId="{C7BB3623-30E8-4E2E-AB95-E524D5E09321}" destId="{CD0EC071-74E6-486A-94A2-242DF7396D39}" srcOrd="1" destOrd="0" presId="urn:microsoft.com/office/officeart/2005/8/layout/venn1"/>
    <dgm:cxn modelId="{E7A3A661-A23F-4FEA-8F94-47D214832151}" type="presOf" srcId="{868B2A2A-B612-420B-A89F-79A3520033BB}" destId="{A5279257-C37C-41DB-93C3-ACAC2FDF6682}" srcOrd="1" destOrd="2" presId="urn:microsoft.com/office/officeart/2005/8/layout/venn1"/>
    <dgm:cxn modelId="{A0DD0B43-1900-45BC-A44A-4F5E8175195A}" type="presOf" srcId="{E5FDB36B-D26B-4903-99A8-0A46EE9513D5}" destId="{38217C84-61CE-4569-9174-B2E9F29D17A8}" srcOrd="1" destOrd="2" presId="urn:microsoft.com/office/officeart/2005/8/layout/venn1"/>
    <dgm:cxn modelId="{CF883D43-95E2-400A-9769-176EF7C9720C}" srcId="{62C79075-98F0-44CF-ABF4-82022E1123B3}" destId="{FCCE49A5-7CBD-4B7E-ACA2-CBB7D62C4AE3}" srcOrd="0" destOrd="0" parTransId="{20D9DF85-875C-4B27-87B4-8FCB6777D8F1}" sibTransId="{9B93C036-ADE6-47BE-9319-E81DEA37762A}"/>
    <dgm:cxn modelId="{6B4D9664-B89A-46E3-ABC8-EE886FC286BF}" type="presOf" srcId="{44091CF2-8379-4545-AECC-894653F31B8C}" destId="{09956F45-A4BD-4684-945D-7321E162C885}" srcOrd="0" destOrd="1" presId="urn:microsoft.com/office/officeart/2005/8/layout/venn1"/>
    <dgm:cxn modelId="{D98A8B65-4D67-45E1-91B8-13FE1CABE404}" srcId="{FCCE49A5-7CBD-4B7E-ACA2-CBB7D62C4AE3}" destId="{44091CF2-8379-4545-AECC-894653F31B8C}" srcOrd="0" destOrd="0" parTransId="{67CC0101-6513-4772-B232-03045629DE11}" sibTransId="{8FCA30AA-E83F-4A81-B5B3-8571898B93EB}"/>
    <dgm:cxn modelId="{6FAC276A-90EC-40B0-BB95-2BFBB8DAF41C}" type="presOf" srcId="{FCCE49A5-7CBD-4B7E-ACA2-CBB7D62C4AE3}" destId="{A5279257-C37C-41DB-93C3-ACAC2FDF6682}" srcOrd="1" destOrd="0" presId="urn:microsoft.com/office/officeart/2005/8/layout/venn1"/>
    <dgm:cxn modelId="{8D9EB46D-1052-4340-9A3E-BE276B48F099}" type="presOf" srcId="{D52B1354-74DC-4ADF-8E6D-272FC219683C}" destId="{58F70508-6F37-4576-9409-23D8595A0A12}" srcOrd="0" destOrd="3" presId="urn:microsoft.com/office/officeart/2005/8/layout/venn1"/>
    <dgm:cxn modelId="{C78B0B4E-4978-4179-8D0E-3DE3505C83C3}" srcId="{3300C8B7-80A5-4E2C-87CA-07F29CBD8A4B}" destId="{E5FDB36B-D26B-4903-99A8-0A46EE9513D5}" srcOrd="1" destOrd="0" parTransId="{3A4ED1DD-88EF-487A-BE5B-E1A71E4A207F}" sibTransId="{FF016776-5C97-4F16-A2A6-C217575E3BCD}"/>
    <dgm:cxn modelId="{ACD7A970-2D10-457A-990A-1DFE861AC257}" srcId="{3300C8B7-80A5-4E2C-87CA-07F29CBD8A4B}" destId="{D52B1354-74DC-4ADF-8E6D-272FC219683C}" srcOrd="2" destOrd="0" parTransId="{F12CA584-A138-4F5D-9FC2-68B0F5627B55}" sibTransId="{D51C0689-D799-4C3D-8F4F-DFC8B7222F54}"/>
    <dgm:cxn modelId="{B771AA72-B3D2-4CA8-B51D-11FDB1BE0CF0}" srcId="{62C79075-98F0-44CF-ABF4-82022E1123B3}" destId="{3300C8B7-80A5-4E2C-87CA-07F29CBD8A4B}" srcOrd="2" destOrd="0" parTransId="{661394A1-404F-4B17-8C10-48A88F9D74A1}" sibTransId="{4F80A970-20EF-4C5E-B5A2-CC09A99B6B16}"/>
    <dgm:cxn modelId="{87DF7154-E8AE-4CB0-BB16-343D62E20EAD}" type="presOf" srcId="{E5FDB36B-D26B-4903-99A8-0A46EE9513D5}" destId="{58F70508-6F37-4576-9409-23D8595A0A12}" srcOrd="0" destOrd="2" presId="urn:microsoft.com/office/officeart/2005/8/layout/venn1"/>
    <dgm:cxn modelId="{CCA0B25A-6253-4D8A-BE56-6C1679D7FDBE}" type="presOf" srcId="{C908EFAA-C2F3-4E92-9357-BB61D4D97D88}" destId="{58F70508-6F37-4576-9409-23D8595A0A12}" srcOrd="0" destOrd="1" presId="urn:microsoft.com/office/officeart/2005/8/layout/venn1"/>
    <dgm:cxn modelId="{9E479589-69D9-4895-993B-B4F8F9103706}" type="presOf" srcId="{44091CF2-8379-4545-AECC-894653F31B8C}" destId="{A5279257-C37C-41DB-93C3-ACAC2FDF6682}" srcOrd="1" destOrd="1" presId="urn:microsoft.com/office/officeart/2005/8/layout/venn1"/>
    <dgm:cxn modelId="{B4E9FA94-7222-42F9-9B09-068A9F8F248F}" srcId="{3300C8B7-80A5-4E2C-87CA-07F29CBD8A4B}" destId="{C908EFAA-C2F3-4E92-9357-BB61D4D97D88}" srcOrd="0" destOrd="0" parTransId="{704A0415-8A38-40A7-B50A-AA088C9BFDBB}" sibTransId="{D4AB0ACD-8F7F-4362-8B18-89DEBED18435}"/>
    <dgm:cxn modelId="{8A8B109F-67B2-4427-88DA-8EFD5D6679B4}" type="presOf" srcId="{36A3FE8E-A6B1-4B0E-80B6-6EE2EFAACB43}" destId="{CD0EC071-74E6-486A-94A2-242DF7396D39}" srcOrd="1" destOrd="2" presId="urn:microsoft.com/office/officeart/2005/8/layout/venn1"/>
    <dgm:cxn modelId="{1F814BAD-79F0-466E-945E-5B59B7FEA492}" type="presOf" srcId="{306CB5D8-BD64-4A15-9B43-F2DE2EF56B5F}" destId="{CD0EC071-74E6-486A-94A2-242DF7396D39}" srcOrd="1" destOrd="3" presId="urn:microsoft.com/office/officeart/2005/8/layout/venn1"/>
    <dgm:cxn modelId="{FAFCE1AF-A22D-4431-86F2-2541137318DC}" type="presOf" srcId="{36A3FE8E-A6B1-4B0E-80B6-6EE2EFAACB43}" destId="{21017EFF-4C84-4696-8D34-91524FD090C6}" srcOrd="0" destOrd="2" presId="urn:microsoft.com/office/officeart/2005/8/layout/venn1"/>
    <dgm:cxn modelId="{F2EDCEB5-5988-4A24-B2AA-0AFB3D691D9C}" type="presOf" srcId="{3300C8B7-80A5-4E2C-87CA-07F29CBD8A4B}" destId="{38217C84-61CE-4569-9174-B2E9F29D17A8}" srcOrd="1" destOrd="0" presId="urn:microsoft.com/office/officeart/2005/8/layout/venn1"/>
    <dgm:cxn modelId="{D5E396C5-FE20-4D6D-94A6-EE215CAE9DD2}" type="presOf" srcId="{C7BB3623-30E8-4E2E-AB95-E524D5E09321}" destId="{21017EFF-4C84-4696-8D34-91524FD090C6}" srcOrd="0" destOrd="0" presId="urn:microsoft.com/office/officeart/2005/8/layout/venn1"/>
    <dgm:cxn modelId="{468DFBCF-131E-482A-BCF2-9967505BAB01}" type="presOf" srcId="{C908EFAA-C2F3-4E92-9357-BB61D4D97D88}" destId="{38217C84-61CE-4569-9174-B2E9F29D17A8}" srcOrd="1" destOrd="1" presId="urn:microsoft.com/office/officeart/2005/8/layout/venn1"/>
    <dgm:cxn modelId="{1E8547D5-3F32-4892-94E6-1B908448B97E}" type="presOf" srcId="{6E75C186-A801-439B-AD68-CF6E51C1CFC4}" destId="{21017EFF-4C84-4696-8D34-91524FD090C6}" srcOrd="0" destOrd="1" presId="urn:microsoft.com/office/officeart/2005/8/layout/venn1"/>
    <dgm:cxn modelId="{7FB439E0-BE4B-40B8-BFFB-CA594787CC9C}" type="presOf" srcId="{3300C8B7-80A5-4E2C-87CA-07F29CBD8A4B}" destId="{58F70508-6F37-4576-9409-23D8595A0A12}" srcOrd="0" destOrd="0" presId="urn:microsoft.com/office/officeart/2005/8/layout/venn1"/>
    <dgm:cxn modelId="{EA3D40F9-6431-4BF1-ACEB-94E5C8520CB9}" type="presOf" srcId="{FCCE49A5-7CBD-4B7E-ACA2-CBB7D62C4AE3}" destId="{09956F45-A4BD-4684-945D-7321E162C885}" srcOrd="0" destOrd="0" presId="urn:microsoft.com/office/officeart/2005/8/layout/venn1"/>
    <dgm:cxn modelId="{AD45C4F9-222E-4F53-BAC6-CCF25B468BF1}" srcId="{C7BB3623-30E8-4E2E-AB95-E524D5E09321}" destId="{6E75C186-A801-439B-AD68-CF6E51C1CFC4}" srcOrd="0" destOrd="0" parTransId="{23524308-4C6E-4EEC-95E1-878AD4BACE07}" sibTransId="{5328ECBC-BD3D-4DBB-9609-85A923981B39}"/>
    <dgm:cxn modelId="{ECC8E3AA-BFD6-4D15-86DC-D4144849C554}" type="presParOf" srcId="{1F7E2A6D-185E-4AA8-95F9-2F85DD2253E2}" destId="{09956F45-A4BD-4684-945D-7321E162C885}" srcOrd="0" destOrd="0" presId="urn:microsoft.com/office/officeart/2005/8/layout/venn1"/>
    <dgm:cxn modelId="{5447134F-B7BB-4B49-9A3B-0B6A67B2B67B}" type="presParOf" srcId="{1F7E2A6D-185E-4AA8-95F9-2F85DD2253E2}" destId="{A5279257-C37C-41DB-93C3-ACAC2FDF6682}" srcOrd="1" destOrd="0" presId="urn:microsoft.com/office/officeart/2005/8/layout/venn1"/>
    <dgm:cxn modelId="{8A9ADFFA-0445-4C7D-B035-2716EA1F007D}" type="presParOf" srcId="{1F7E2A6D-185E-4AA8-95F9-2F85DD2253E2}" destId="{21017EFF-4C84-4696-8D34-91524FD090C6}" srcOrd="2" destOrd="0" presId="urn:microsoft.com/office/officeart/2005/8/layout/venn1"/>
    <dgm:cxn modelId="{9FC25579-3B0E-472E-99ED-BB5C0EBD0EF1}" type="presParOf" srcId="{1F7E2A6D-185E-4AA8-95F9-2F85DD2253E2}" destId="{CD0EC071-74E6-486A-94A2-242DF7396D39}" srcOrd="3" destOrd="0" presId="urn:microsoft.com/office/officeart/2005/8/layout/venn1"/>
    <dgm:cxn modelId="{6A3BCB8E-4F21-4AF1-81B6-260530886F94}" type="presParOf" srcId="{1F7E2A6D-185E-4AA8-95F9-2F85DD2253E2}" destId="{58F70508-6F37-4576-9409-23D8595A0A12}" srcOrd="4" destOrd="0" presId="urn:microsoft.com/office/officeart/2005/8/layout/venn1"/>
    <dgm:cxn modelId="{8CCC8970-F79F-4A87-925B-38958183B23C}" type="presParOf" srcId="{1F7E2A6D-185E-4AA8-95F9-2F85DD2253E2}" destId="{38217C84-61CE-4569-9174-B2E9F29D17A8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A57B97-562E-4BD1-91AF-D61AC5904970}">
      <dsp:nvSpPr>
        <dsp:cNvPr id="0" name=""/>
        <dsp:cNvSpPr/>
      </dsp:nvSpPr>
      <dsp:spPr>
        <a:xfrm>
          <a:off x="4600575" y="231"/>
          <a:ext cx="1314449" cy="131444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de-DE" sz="1100" b="0" i="0" kern="1200" dirty="0"/>
            <a:t>Goal Setting</a:t>
          </a:r>
          <a:endParaRPr lang="en-US" sz="1100" kern="1200" dirty="0"/>
        </a:p>
      </dsp:txBody>
      <dsp:txXfrm>
        <a:off x="4793072" y="192728"/>
        <a:ext cx="929455" cy="929455"/>
      </dsp:txXfrm>
    </dsp:sp>
    <dsp:sp modelId="{8A5E5B75-2B47-496F-B5EC-809A90E9195B}">
      <dsp:nvSpPr>
        <dsp:cNvPr id="0" name=""/>
        <dsp:cNvSpPr/>
      </dsp:nvSpPr>
      <dsp:spPr>
        <a:xfrm rot="2160000">
          <a:off x="5873411" y="1009740"/>
          <a:ext cx="349131" cy="4436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5883413" y="1067683"/>
        <a:ext cx="244392" cy="266176"/>
      </dsp:txXfrm>
    </dsp:sp>
    <dsp:sp modelId="{B189EE19-1FDE-4D1B-B810-7AF11A4F15C3}">
      <dsp:nvSpPr>
        <dsp:cNvPr id="0" name=""/>
        <dsp:cNvSpPr/>
      </dsp:nvSpPr>
      <dsp:spPr>
        <a:xfrm>
          <a:off x="6196918" y="1160042"/>
          <a:ext cx="1314449" cy="131444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de-DE" sz="1100" b="0" i="0" kern="1200" dirty="0"/>
            <a:t>Performance Tracking and Feedback</a:t>
          </a:r>
          <a:endParaRPr lang="en-US" sz="1100" kern="1200" dirty="0"/>
        </a:p>
      </dsp:txBody>
      <dsp:txXfrm>
        <a:off x="6389415" y="1352539"/>
        <a:ext cx="929455" cy="929455"/>
      </dsp:txXfrm>
    </dsp:sp>
    <dsp:sp modelId="{9E6B6685-EAE4-4E95-8E5E-9E0413AE29D3}">
      <dsp:nvSpPr>
        <dsp:cNvPr id="0" name=""/>
        <dsp:cNvSpPr/>
      </dsp:nvSpPr>
      <dsp:spPr>
        <a:xfrm rot="6480000">
          <a:off x="6377756" y="2524363"/>
          <a:ext cx="349131" cy="4436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6446309" y="2563282"/>
        <a:ext cx="244392" cy="266176"/>
      </dsp:txXfrm>
    </dsp:sp>
    <dsp:sp modelId="{53835FD9-B645-4A41-8B05-60BAE88DEF9B}">
      <dsp:nvSpPr>
        <dsp:cNvPr id="0" name=""/>
        <dsp:cNvSpPr/>
      </dsp:nvSpPr>
      <dsp:spPr>
        <a:xfrm>
          <a:off x="5587169" y="3036656"/>
          <a:ext cx="1314449" cy="131444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de-DE" sz="1100" b="0" i="0" kern="1200" dirty="0"/>
            <a:t>Performance Evaluation</a:t>
          </a:r>
          <a:endParaRPr lang="en-US" sz="1100" kern="1200" dirty="0"/>
        </a:p>
      </dsp:txBody>
      <dsp:txXfrm>
        <a:off x="5779666" y="3229153"/>
        <a:ext cx="929455" cy="929455"/>
      </dsp:txXfrm>
    </dsp:sp>
    <dsp:sp modelId="{94D964E7-6179-46AD-837A-9B0133A62428}">
      <dsp:nvSpPr>
        <dsp:cNvPr id="0" name=""/>
        <dsp:cNvSpPr/>
      </dsp:nvSpPr>
      <dsp:spPr>
        <a:xfrm rot="10800000">
          <a:off x="5093115" y="3472068"/>
          <a:ext cx="349131" cy="4436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5197854" y="3560793"/>
        <a:ext cx="244392" cy="266176"/>
      </dsp:txXfrm>
    </dsp:sp>
    <dsp:sp modelId="{C950177D-CF68-41C6-8131-9218E553F485}">
      <dsp:nvSpPr>
        <dsp:cNvPr id="0" name=""/>
        <dsp:cNvSpPr/>
      </dsp:nvSpPr>
      <dsp:spPr>
        <a:xfrm>
          <a:off x="3613980" y="3036656"/>
          <a:ext cx="1314449" cy="131444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de-DE" sz="1100" b="0" i="0" kern="1200" dirty="0"/>
            <a:t>Development </a:t>
          </a:r>
          <a:r>
            <a:rPr lang="de-DE" sz="1100" b="0" i="0" kern="1200" dirty="0" err="1"/>
            <a:t>Planning</a:t>
          </a:r>
          <a:endParaRPr lang="en-US" sz="1100" kern="1200" dirty="0"/>
        </a:p>
      </dsp:txBody>
      <dsp:txXfrm>
        <a:off x="3806477" y="3229153"/>
        <a:ext cx="929455" cy="929455"/>
      </dsp:txXfrm>
    </dsp:sp>
    <dsp:sp modelId="{97A3E6DE-4C76-42BC-8349-533025DC35A8}">
      <dsp:nvSpPr>
        <dsp:cNvPr id="0" name=""/>
        <dsp:cNvSpPr/>
      </dsp:nvSpPr>
      <dsp:spPr>
        <a:xfrm rot="15120000">
          <a:off x="3794818" y="2543158"/>
          <a:ext cx="349131" cy="4436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 rot="10800000">
        <a:off x="3863371" y="2681689"/>
        <a:ext cx="244392" cy="266176"/>
      </dsp:txXfrm>
    </dsp:sp>
    <dsp:sp modelId="{59D1086D-886B-470E-90C3-F4B7FACD1AB3}">
      <dsp:nvSpPr>
        <dsp:cNvPr id="0" name=""/>
        <dsp:cNvSpPr/>
      </dsp:nvSpPr>
      <dsp:spPr>
        <a:xfrm>
          <a:off x="3004231" y="1160042"/>
          <a:ext cx="1314449" cy="131444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de-DE" sz="1100" b="0" i="0" kern="1200" dirty="0" err="1"/>
            <a:t>Compensation</a:t>
          </a:r>
          <a:r>
            <a:rPr lang="de-DE" sz="1100" b="0" i="0" kern="1200" dirty="0"/>
            <a:t> and Career Progression</a:t>
          </a:r>
          <a:endParaRPr lang="en-US" sz="1100" kern="1200" dirty="0"/>
        </a:p>
      </dsp:txBody>
      <dsp:txXfrm>
        <a:off x="3196728" y="1352539"/>
        <a:ext cx="929455" cy="929455"/>
      </dsp:txXfrm>
    </dsp:sp>
    <dsp:sp modelId="{D8E2E725-665B-4E41-9058-B700C79A6C88}">
      <dsp:nvSpPr>
        <dsp:cNvPr id="0" name=""/>
        <dsp:cNvSpPr/>
      </dsp:nvSpPr>
      <dsp:spPr>
        <a:xfrm rot="19440000">
          <a:off x="4277068" y="1021356"/>
          <a:ext cx="349131" cy="4436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4287070" y="1140863"/>
        <a:ext cx="244392" cy="2661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A1F342-D7F9-4E3A-A27E-B80BCBDDE0D6}">
      <dsp:nvSpPr>
        <dsp:cNvPr id="0" name=""/>
        <dsp:cNvSpPr/>
      </dsp:nvSpPr>
      <dsp:spPr>
        <a:xfrm>
          <a:off x="0" y="18458"/>
          <a:ext cx="10515600" cy="5405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b="0" i="0" kern="1200" dirty="0"/>
            <a:t>Performance Evaluation </a:t>
          </a:r>
          <a:r>
            <a:rPr lang="de-DE" sz="2200" b="0" i="0" kern="1200" dirty="0" err="1"/>
            <a:t>Process</a:t>
          </a:r>
          <a:endParaRPr lang="en-US" sz="2200" kern="1200" dirty="0"/>
        </a:p>
      </dsp:txBody>
      <dsp:txXfrm>
        <a:off x="26387" y="44845"/>
        <a:ext cx="10462826" cy="487766"/>
      </dsp:txXfrm>
    </dsp:sp>
    <dsp:sp modelId="{07B178E9-2BE9-414E-A54E-3D56CEAD94F3}">
      <dsp:nvSpPr>
        <dsp:cNvPr id="0" name=""/>
        <dsp:cNvSpPr/>
      </dsp:nvSpPr>
      <dsp:spPr>
        <a:xfrm>
          <a:off x="0" y="558999"/>
          <a:ext cx="10515600" cy="1184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 dirty="0"/>
            <a:t>Self-</a:t>
          </a:r>
          <a:r>
            <a:rPr lang="de-DE" sz="1700" b="0" i="0" kern="1200" dirty="0" err="1"/>
            <a:t>assessment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/>
            <a:t>Manager evaluation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/>
            <a:t>Calibration meetings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/>
            <a:t>Final performance rating</a:t>
          </a:r>
          <a:endParaRPr lang="en-US" sz="1700" kern="1200" dirty="0"/>
        </a:p>
      </dsp:txBody>
      <dsp:txXfrm>
        <a:off x="0" y="558999"/>
        <a:ext cx="10515600" cy="1184040"/>
      </dsp:txXfrm>
    </dsp:sp>
    <dsp:sp modelId="{5FB32C67-373A-4285-94C6-D22AACAFF46A}">
      <dsp:nvSpPr>
        <dsp:cNvPr id="0" name=""/>
        <dsp:cNvSpPr/>
      </dsp:nvSpPr>
      <dsp:spPr>
        <a:xfrm>
          <a:off x="0" y="1743039"/>
          <a:ext cx="10515600" cy="5405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b="0" i="0" kern="1200" dirty="0"/>
            <a:t>Development </a:t>
          </a:r>
          <a:r>
            <a:rPr lang="de-DE" sz="2200" b="0" i="0" kern="1200" dirty="0" err="1"/>
            <a:t>Planning</a:t>
          </a:r>
          <a:endParaRPr lang="en-US" sz="2200" kern="1200" dirty="0"/>
        </a:p>
      </dsp:txBody>
      <dsp:txXfrm>
        <a:off x="26387" y="1769426"/>
        <a:ext cx="10462826" cy="487766"/>
      </dsp:txXfrm>
    </dsp:sp>
    <dsp:sp modelId="{3AC27DB1-9210-4D33-9726-C726BB01EF9E}">
      <dsp:nvSpPr>
        <dsp:cNvPr id="0" name=""/>
        <dsp:cNvSpPr/>
      </dsp:nvSpPr>
      <dsp:spPr>
        <a:xfrm>
          <a:off x="0" y="2283579"/>
          <a:ext cx="10515600" cy="20493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1700" b="0" i="0" kern="1200" dirty="0"/>
            <a:t>Identifying strengths and areas for improvement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/>
            <a:t>Creating personalized development plans</a:t>
          </a: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/>
            <a:t>Development opportunities:</a:t>
          </a:r>
          <a:endParaRPr lang="en-US" sz="1700" kern="1200" dirty="0"/>
        </a:p>
        <a:p>
          <a:pPr marL="342900" lvl="2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/>
            <a:t>Training and workshops</a:t>
          </a:r>
        </a:p>
        <a:p>
          <a:pPr marL="342900" lvl="2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/>
            <a:t>Mentoring and coaching</a:t>
          </a:r>
        </a:p>
        <a:p>
          <a:pPr marL="342900" lvl="2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/>
            <a:t>Job shadowing</a:t>
          </a:r>
        </a:p>
        <a:p>
          <a:pPr marL="342900" lvl="2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de-DE" sz="1700" b="0" i="0" kern="1200"/>
            <a:t>Stretch assignments</a:t>
          </a:r>
        </a:p>
      </dsp:txBody>
      <dsp:txXfrm>
        <a:off x="0" y="2283579"/>
        <a:ext cx="10515600" cy="20493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956F45-A4BD-4684-945D-7321E162C885}">
      <dsp:nvSpPr>
        <dsp:cNvPr id="0" name=""/>
        <dsp:cNvSpPr/>
      </dsp:nvSpPr>
      <dsp:spPr>
        <a:xfrm>
          <a:off x="3952398" y="54391"/>
          <a:ext cx="2610802" cy="261080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1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de-DE" sz="1300" b="0" i="0" kern="1200" dirty="0" err="1"/>
            <a:t>Employees</a:t>
          </a:r>
          <a:r>
            <a:rPr lang="de-DE" sz="1300" b="0" i="0" kern="1200" dirty="0"/>
            <a:t>:</a:t>
          </a:r>
          <a:endParaRPr lang="en-US" sz="13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b="0" i="0" kern="1200"/>
            <a:t>Set goals, track progress, and participate in the evaluation proces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b="0" i="0" kern="1200"/>
            <a:t>Identify development needs and actively pursue growth opportunities</a:t>
          </a:r>
        </a:p>
      </dsp:txBody>
      <dsp:txXfrm>
        <a:off x="4300505" y="511282"/>
        <a:ext cx="1914588" cy="1174861"/>
      </dsp:txXfrm>
    </dsp:sp>
    <dsp:sp modelId="{21017EFF-4C84-4696-8D34-91524FD090C6}">
      <dsp:nvSpPr>
        <dsp:cNvPr id="0" name=""/>
        <dsp:cNvSpPr/>
      </dsp:nvSpPr>
      <dsp:spPr>
        <a:xfrm>
          <a:off x="4894463" y="1686143"/>
          <a:ext cx="2610802" cy="261080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1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de-DE" sz="1300" b="0" i="0" kern="1200" dirty="0"/>
            <a:t>Managers:</a:t>
          </a:r>
          <a:endParaRPr lang="en-US" sz="13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b="0" i="0" kern="1200"/>
            <a:t>Provide regular feedback and coaching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b="0" i="0" kern="1200"/>
            <a:t>Conduct fair and objective performance evaluation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b="0" i="0" kern="1200"/>
            <a:t>Support employee development and career progression</a:t>
          </a:r>
        </a:p>
      </dsp:txBody>
      <dsp:txXfrm>
        <a:off x="5692933" y="2360600"/>
        <a:ext cx="1566481" cy="1435941"/>
      </dsp:txXfrm>
    </dsp:sp>
    <dsp:sp modelId="{58F70508-6F37-4576-9409-23D8595A0A12}">
      <dsp:nvSpPr>
        <dsp:cNvPr id="0" name=""/>
        <dsp:cNvSpPr/>
      </dsp:nvSpPr>
      <dsp:spPr>
        <a:xfrm>
          <a:off x="3010333" y="1686143"/>
          <a:ext cx="2610802" cy="261080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1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de-DE" sz="1300" b="0" i="0" kern="1200"/>
            <a:t>HR:</a:t>
          </a:r>
          <a:endParaRPr lang="en-US" sz="13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b="0" i="0" kern="1200"/>
            <a:t>Facilitate the performance management proces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b="0" i="0" kern="1200"/>
            <a:t>Ensure consistency and fairness across the organizatio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00" b="0" i="0" kern="1200"/>
            <a:t>Provide guidance and resources for development and career planning</a:t>
          </a:r>
        </a:p>
      </dsp:txBody>
      <dsp:txXfrm>
        <a:off x="3256184" y="2360600"/>
        <a:ext cx="1566481" cy="14359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595666-8733-DB45-F74E-5C61A1C33B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0C46C18-7105-41A7-26D1-940072F51B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5667AF-BBA2-26F0-3632-30D5A8836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E98254-26E1-6EB6-800B-541B4AEF9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09D594-A94A-2368-3870-7DB62B201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2129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A6E15E-0BEA-1EFB-0FF0-88B8B554C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EBAFB24-AC09-0E30-8A6A-A3F6878596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A33AF1A-A14E-0AC3-01BF-BF96A1AB0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68DE806-FFB0-012B-9553-42EE07AAE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E01E3B-6C80-B348-54F4-BAAF01EFF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7133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353FFD4-94DA-3323-AC67-84CA1E2A28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BC33E8D-412C-F45B-457D-45F6449B93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C3EE6A-AC9F-21A0-2499-05BBABE74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E15B1-5B1F-ED55-511D-E32225298D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254FF8-2962-555C-4A9B-4389E5457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059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F839EF-DA1D-4F7C-3DD6-6109FA9CD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BC18BB-A0FC-1B0E-275A-A986A1A1FD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EC810F2-7C73-A122-D46D-ABA6E8C77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16072D-275F-0578-62A6-BAE43C47A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A15568-8AE6-4D84-F5FA-98FEA8564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650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C1DCB5-4494-F615-0665-580262AFD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0A0C9E1-36F0-CCCF-FFAE-E027E99EEC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E840CC-BA89-73FD-CBF2-E214806E7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D1B3BDB-50AF-350F-C946-22DA043F0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F8AAF66-B509-8955-7059-320E373AD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412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72CB06-6DA2-51AF-F7BC-2B0E12824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763362-EA88-44EF-74A7-3F1B3B24BB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F980F98-BD3C-2539-E9CD-9C45FFB642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1F3A050-DCAB-9F16-0758-7AB8BB69F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95ED6D8-B995-92EA-F7B9-9F4A309D8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D02E66B-6EE7-1F13-72FB-DC3988E0E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04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4292CE-4B6E-E34E-E6EE-EB9532EED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DAE8E6-575D-C033-82A8-14A8800B9E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60B2436-86F3-8BF4-A55F-C6598FA5A4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B38C3EC-C788-4F1E-973D-A6C5F48300E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DC116E-AC6A-35E7-6A4A-2EEB0B5E71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8762856-6FB7-209A-2B0B-E463E2CD16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19343E8-4EB2-0700-37ED-3CCCDB445E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F327E10-CFED-E87A-4E55-32B8E2324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455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03463C-70F2-8975-D1E3-034C1F79A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50DF43-2379-0E91-7BCA-AE43F5032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0A01FC-7FC2-0BDC-B440-747CAFEF5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FB29FE-4D97-75CF-CC01-2C36002AB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7434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3858D0-6EC8-8EE3-8542-024BDE37A2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E88426-85E9-838F-A33B-7A5B37B94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DBF608-9DF7-46AC-4190-BC47412323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2941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7123A5-4347-9349-22FD-856EB998A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1558C6-0745-E574-3459-4F25C05BC4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2706228-3F2F-A313-CC1E-08C79A8E2C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46C7E51-84E1-CB64-9220-7DE8F047FC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BFE75F-32A6-399C-ACB2-9F1224B8EA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DC236C-ECD4-2873-0B39-980AECE16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1983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4372D8-6AD7-3E19-F6BC-ABFA5D4B4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6F255EA-BC47-5B54-218E-7C3670D0E3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20071AA-A998-152B-A15E-5BEB44A3C0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41C489-6DD5-0679-5CF4-A2274C5EDB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E0EC53B-7A2F-EB89-722F-070BC1899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0EF6F7C-6604-CAEE-5EBF-0F73908B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319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085EAC3-0CFC-17D0-F81F-3A3A3C51F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F06027F-B661-3D6A-DE5B-96DA97F5BE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219FC47-CA63-843F-36C9-392DCED7C8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A095515-6996-4D24-8A9D-51514074EDDC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28BE47F-F739-1F8D-593A-A0ED5DE70B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61FB3A-1C84-A41E-9DB8-3C4ECB2F56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DBB493C-E090-4D50-9E6D-FA75CD7BA7E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924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4DCA6E-0A71-31CD-717B-596E8A00FB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ChemNovus</a:t>
            </a:r>
            <a:r>
              <a:rPr lang="en-US" dirty="0"/>
              <a:t> Incorporated Performance Management Proces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ED1A876-FB4C-6181-72B5-C91EE8910B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riving Excellence through Continuous Improvement</a:t>
            </a:r>
          </a:p>
        </p:txBody>
      </p:sp>
    </p:spTree>
    <p:extLst>
      <p:ext uri="{BB962C8B-B14F-4D97-AF65-F5344CB8AC3E}">
        <p14:creationId xmlns:p14="http://schemas.microsoft.com/office/powerpoint/2010/main" val="2964633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EB3293-6F62-2270-3406-2C539949DB0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The Performance Management Cycle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B4FC1A1C-1302-738E-9290-15C9047339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1261322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87640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2F69A0-CAAB-3339-B934-8B28B2C98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 Setting and Performance Tracki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90D8B34-5B11-0442-D35B-D0BFF9D32D8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/>
              <a:t>Setting SMART Goals</a:t>
            </a:r>
          </a:p>
          <a:p>
            <a:r>
              <a:rPr lang="en-US" dirty="0"/>
              <a:t>Example:</a:t>
            </a:r>
            <a:br>
              <a:rPr lang="en-US" dirty="0"/>
            </a:br>
            <a:r>
              <a:rPr lang="en-US" sz="2200" dirty="0"/>
              <a:t>Increase sales of </a:t>
            </a:r>
            <a:r>
              <a:rPr lang="en-US" sz="2200" dirty="0" err="1"/>
              <a:t>ChemNovus</a:t>
            </a:r>
            <a:r>
              <a:rPr lang="en-US" sz="2200" dirty="0"/>
              <a:t> Incorporated' new biodegradable polymer product line by 15% within the next 12 months by implementing targeted marketing campaigns and expanding distribution channels in key markets.</a:t>
            </a:r>
          </a:p>
          <a:p>
            <a:pPr marL="0" indent="0">
              <a:buNone/>
            </a:pPr>
            <a:r>
              <a:rPr lang="en-US" dirty="0"/>
              <a:t>Continuous Performance Tracking</a:t>
            </a:r>
          </a:p>
          <a:p>
            <a:r>
              <a:rPr lang="en-US" sz="2400" dirty="0"/>
              <a:t>Regular check-ins and feedback sessions</a:t>
            </a:r>
          </a:p>
          <a:p>
            <a:r>
              <a:rPr lang="en-US" sz="2400" dirty="0"/>
              <a:t>Ongoing monitoring of progress towards goals</a:t>
            </a:r>
          </a:p>
          <a:p>
            <a:r>
              <a:rPr lang="en-US" sz="2400" dirty="0"/>
              <a:t>Adjustments and course corrections as needed</a:t>
            </a: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EB07217C-840B-5BAB-CB63-5DB54E0D1863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39863407"/>
              </p:ext>
            </p:extLst>
          </p:nvPr>
        </p:nvGraphicFramePr>
        <p:xfrm>
          <a:off x="6172200" y="1825625"/>
          <a:ext cx="5181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5023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C9F16-CB14-762D-C207-7D9E57737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 and Development Planning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056CAFB8-DB72-9E17-54DA-0FAAA494C86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353479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196374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EA2FF9-04A9-3CD3-5CB6-CA0766297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nsation, Career Progression, and Role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94B08009-1F48-4D7F-5170-9C5BC0A7F6C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2396668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51670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w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1pHDkjsOHpJuwFmwsl5jGgEAAAAAAADAAAAAAADAAAAAwADAAIA////////BQAAAAMAEAALm5qrSkMx8ESsidpREc8OLQQAAAABAAMAAAACAAMAAAAEAAMAAAAAAAMAAAAEAAQABQD///////8FAAAABAAQAAuichqslEy5SJSOaLKvUqWxBAAAAAIAAwAAAAMAAwAAAAEAAwAAAAM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WkcOSOw4ekm7AWbCyXmMaANEYXRhABsAAAAETGlua2VkU2hhcGVEYXRhAAUAAAAAAAJOYW1lABkAAABMaW5rZWRTaGFwZXNEYXRhUHJvcGVydHkAEFZlcnNpb24AAAAAAAlMYXN0V3JpdGUAySPNJpABAAAAAQD/////gwCDAAAABV9pZAAQAAAABJuaq0pDMfBErInaURHPDi0DRGF0YQAbAAAABExpbmtlZFNoYXBlRGF0YQAFAAAAAAACTmFtZQAZAAAATGlua2VkU2hhcGVzRGF0YVByb3BlcnR5ABBWZXJzaW9uAAEAAAAJTGFzdFdyaXRlAOojzSaQAQAAAAIA/////8YAxgAAAAVfaWQAEAAAAASichqslEy5SJSOaLKvUqWxA0RhdGEAUwAAAAhQcmVzZW50YXRpb25TY2FubmVkRm9yTGlua2VkU2hhcGVzAAACTnVtYmVyRm9ybWF0U2VwYXJhdG9yTW9kZQAKAAAAQXV0b21hdGljAAACTmFtZQAkAAAATGlua2VkU2hhcGVQcmVzZW50YXRpb25TZXR0aW5nc0RhdGEAEFZlcnNpb24AAAAAAAlMYXN0V3JpdGUA6iPNJp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E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GgAGTGlua2VkU2hhcGVzRGF0YVByb3BlcnR5XzAEAAAAAAAFAAAABAAFAAAAAwAFAAAAAAD///////8DAAEBAwAAAAMA////////GgAGTGlua2VkU2hhcGVzRGF0YVByb3BlcnR5XzEEAAAAAQAFAAAAAgAFAAAAAQAEAAEBAwAAAAQA////////JQAGTGlua2VkU2hhcGVQcmVzZW50YXRpb25TZXR0aW5nc0RhdGFfMAQ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542346967858265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uio3Qn0SZOjKCqdqabauMEAAAAAAADAAAABAADAAAAAwADAAEA////////BQAAAAMAEAALqsoI3sQl5EqSSfy9KFAdqwQAAAABAAMAAAACAAMAAAABAAQAAwD///////8FAAAABAAQAAtJ5jRCdgIsQqh5YIaT/JfpBAAAAAIAAwAAAAAAAwAAAAI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6KjdCfRJk6MoKp2pptq4wREYXRhAAUAAAAAAk5hbWUADQAAAExpbmtEYXRhTGlzdAAQVmVyc2lvbgAAAAAACUxhc3RXcml0ZQDe3afakAEAAAABAP////9hAGEAAAAFX2lkABAAAAAEqsoI3sQl5EqSSfy9KFAdqwREYXRhAAUAAAAAAk5hbWUADQAAAExpbmtEYXRhTGlzdAAQVmVyc2lvbgABAAAACUxhc3RXcml0ZQAF3qfakAEAAAACAP////9wAHAAAAAFX2lkABAAAAAESeY0QnYCLEKoeWCGk/yX6QNEYXRhABYAAAACUGVyc29uYWxJZAABAAAAAAACTmFtZQALAAAAUGVyc29uYWxJZAAQVmVyc2lvbgAAAAAACUxhc3RXcml0ZQCB3qfa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MBAwAAAAMA////////DgAGTGlua0RhdGFMaXN0XzEEAAAAAQAFAAAAAgAFAAAABAA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72521529908182"/>
  <p:tag name="EMPOWERCHARTSPROPERTIES_B_LENGTH" val="24576"/>
  <p:tag name="DOWN_MIGRATION_INITIAL_LAYOUT_REQUIRED" val="9.2.99"/>
  <p:tag name="RUNTIME_ID" val="5ead87aa-9c23-4a8e-8904-4704569363a7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855eaa4a-084b-408b-a9ee-84ddf7738943}" enabled="1" method="Privileged" siteId="{0468bc4a-134c-4fb0-b843-a2a3d583e91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4</Words>
  <Application>Microsoft Office PowerPoint</Application>
  <PresentationFormat>Breitbild</PresentationFormat>
  <Paragraphs>42</Paragraphs>
  <Slides>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9" baseType="lpstr">
      <vt:lpstr>Aptos</vt:lpstr>
      <vt:lpstr>Aptos Display</vt:lpstr>
      <vt:lpstr>Arial</vt:lpstr>
      <vt:lpstr>Office</vt:lpstr>
      <vt:lpstr>ChemNovus Incorporated Performance Management Process</vt:lpstr>
      <vt:lpstr>The Performance Management Cycle</vt:lpstr>
      <vt:lpstr>Goal Setting and Performance Tracking</vt:lpstr>
      <vt:lpstr>Performance Evaluation and Development Planning</vt:lpstr>
      <vt:lpstr>Compensation, Career Progression, and Rol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o Orschall</dc:creator>
  <cp:lastModifiedBy>Timo Orschall</cp:lastModifiedBy>
  <cp:revision>1</cp:revision>
  <dcterms:created xsi:type="dcterms:W3CDTF">2024-06-17T15:24:48Z</dcterms:created>
  <dcterms:modified xsi:type="dcterms:W3CDTF">2024-07-22T13:36:01Z</dcterms:modified>
</cp:coreProperties>
</file>